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9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</p:sldMasterIdLst>
  <p:notesMasterIdLst>
    <p:notesMasterId r:id="rId19"/>
  </p:notesMasterIdLst>
  <p:sldIdLst>
    <p:sldId id="658" r:id="rId6"/>
    <p:sldId id="2519" r:id="rId7"/>
    <p:sldId id="2147481107" r:id="rId8"/>
    <p:sldId id="2147481108" r:id="rId9"/>
    <p:sldId id="2147481109" r:id="rId10"/>
    <p:sldId id="2147481117" r:id="rId11"/>
    <p:sldId id="2147481118" r:id="rId12"/>
    <p:sldId id="2147481119" r:id="rId13"/>
    <p:sldId id="2147481111" r:id="rId14"/>
    <p:sldId id="2147481112" r:id="rId15"/>
    <p:sldId id="2147481120" r:id="rId16"/>
    <p:sldId id="2147481113" r:id="rId17"/>
    <p:sldId id="579" r:id="rId18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udy title" id="{A3A3D1A7-7330-3947-8795-158927AAFFF2}">
          <p14:sldIdLst>
            <p14:sldId id="658"/>
          </p14:sldIdLst>
        </p14:section>
        <p14:section name="background" id="{B631730D-36D2-7F4B-87FD-F41BAC9D53C7}">
          <p14:sldIdLst>
            <p14:sldId id="2519"/>
          </p14:sldIdLst>
        </p14:section>
        <p14:section name="Motivation" id="{F756C79B-3730-4D12-A2FA-F7387F2869D9}">
          <p14:sldIdLst>
            <p14:sldId id="2147481107"/>
          </p14:sldIdLst>
        </p14:section>
        <p14:section name="Methodology" id="{95E2AECD-E7B2-4CC3-8AB2-15E0900171E5}">
          <p14:sldIdLst>
            <p14:sldId id="2147481108"/>
          </p14:sldIdLst>
        </p14:section>
        <p14:section name="Results-one sand size" id="{FEEE31B3-442F-4ABA-A12A-C9BE32C9D3C6}">
          <p14:sldIdLst>
            <p14:sldId id="2147481109"/>
            <p14:sldId id="2147481117"/>
            <p14:sldId id="2147481118"/>
            <p14:sldId id="2147481119"/>
            <p14:sldId id="2147481111"/>
            <p14:sldId id="2147481112"/>
            <p14:sldId id="2147481120"/>
            <p14:sldId id="2147481113"/>
            <p14:sldId id="579"/>
          </p14:sldIdLst>
        </p14:section>
        <p14:section name="PhD and Researcher sub-projects" id="{C9369F23-3C75-BE4B-8497-C62E78B0116F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B2CC62-846C-9825-67E7-527C6AED9BE4}" name="Maya Havre" initials="" userId="S::mhav@norceresearch.no::1aec87e3-20c3-429c-bcb0-0f6b2aa6e1f2" providerId="AD"/>
  <p188:author id="{52362E7B-C82F-C961-EC8E-119DF39F0DCA}" name="Ketil Djurhuus" initials="" userId="S::kedj@norceresearch.no::cc4034f2-40cd-493e-8358-28cb4c41a971" providerId="AD"/>
  <p188:author id="{5C818CA8-CD99-0046-DDD9-43FC1CD8A0EA}" name="Sarah Eileen Gasda" initials="SEG" userId="S::sgas@norceresearch.no::6665d1f3-ae10-4f9e-b98b-9d5443bd211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2400"/>
    <a:srgbClr val="F4FAB8"/>
    <a:srgbClr val="034947"/>
    <a:srgbClr val="D6EFC5"/>
    <a:srgbClr val="E9D3EF"/>
    <a:srgbClr val="D7EFC6"/>
    <a:srgbClr val="009748"/>
    <a:srgbClr val="F41E70"/>
    <a:srgbClr val="004A47"/>
    <a:srgbClr val="00B4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452E0E-B185-41CC-8158-C794881CB197}" v="684" dt="2025-05-19T16:06:32.2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ymond Mushabe" userId="c276d7e5-a885-4d83-b838-c8f2f4dd528c" providerId="ADAL" clId="{A1E209A6-1B46-442B-84F0-4A0032DA06CE}"/>
    <pc:docChg chg="undo custSel addSld delSld modSld modSection">
      <pc:chgData name="Raymond Mushabe" userId="c276d7e5-a885-4d83-b838-c8f2f4dd528c" providerId="ADAL" clId="{A1E209A6-1B46-442B-84F0-4A0032DA06CE}" dt="2025-05-06T10:05:10.090" v="8263" actId="20577"/>
      <pc:docMkLst>
        <pc:docMk/>
      </pc:docMkLst>
      <pc:sldChg chg="add del setBg">
        <pc:chgData name="Raymond Mushabe" userId="c276d7e5-a885-4d83-b838-c8f2f4dd528c" providerId="ADAL" clId="{A1E209A6-1B46-442B-84F0-4A0032DA06CE}" dt="2025-05-03T10:26:39.912" v="1608"/>
        <pc:sldMkLst>
          <pc:docMk/>
          <pc:sldMk cId="980488658" sldId="332"/>
        </pc:sldMkLst>
      </pc:sldChg>
      <pc:sldChg chg="addSp modSp mod">
        <pc:chgData name="Raymond Mushabe" userId="c276d7e5-a885-4d83-b838-c8f2f4dd528c" providerId="ADAL" clId="{A1E209A6-1B46-442B-84F0-4A0032DA06CE}" dt="2025-05-06T07:20:18.291" v="7528" actId="2711"/>
        <pc:sldMkLst>
          <pc:docMk/>
          <pc:sldMk cId="2152705214" sldId="579"/>
        </pc:sldMkLst>
        <pc:spChg chg="mod">
          <ac:chgData name="Raymond Mushabe" userId="c276d7e5-a885-4d83-b838-c8f2f4dd528c" providerId="ADAL" clId="{A1E209A6-1B46-442B-84F0-4A0032DA06CE}" dt="2025-05-06T07:20:18.291" v="7528" actId="2711"/>
          <ac:spMkLst>
            <pc:docMk/>
            <pc:sldMk cId="2152705214" sldId="579"/>
            <ac:spMk id="2" creationId="{63D32487-20EE-3E4F-A0C1-4B58FA01205D}"/>
          </ac:spMkLst>
        </pc:spChg>
        <pc:spChg chg="mod">
          <ac:chgData name="Raymond Mushabe" userId="c276d7e5-a885-4d83-b838-c8f2f4dd528c" providerId="ADAL" clId="{A1E209A6-1B46-442B-84F0-4A0032DA06CE}" dt="2025-05-06T07:20:18.291" v="7528" actId="2711"/>
          <ac:spMkLst>
            <pc:docMk/>
            <pc:sldMk cId="2152705214" sldId="579"/>
            <ac:spMk id="3" creationId="{CC62DBCC-CB8E-D34F-81FE-8ABBC2005215}"/>
          </ac:spMkLst>
        </pc:spChg>
        <pc:spChg chg="mod">
          <ac:chgData name="Raymond Mushabe" userId="c276d7e5-a885-4d83-b838-c8f2f4dd528c" providerId="ADAL" clId="{A1E209A6-1B46-442B-84F0-4A0032DA06CE}" dt="2025-05-06T07:20:18.291" v="7528" actId="2711"/>
          <ac:spMkLst>
            <pc:docMk/>
            <pc:sldMk cId="2152705214" sldId="579"/>
            <ac:spMk id="5" creationId="{EC1826A5-E596-810B-3C42-536CA5D16632}"/>
          </ac:spMkLst>
        </pc:spChg>
        <pc:spChg chg="mod">
          <ac:chgData name="Raymond Mushabe" userId="c276d7e5-a885-4d83-b838-c8f2f4dd528c" providerId="ADAL" clId="{A1E209A6-1B46-442B-84F0-4A0032DA06CE}" dt="2025-05-06T07:20:18.291" v="7528" actId="2711"/>
          <ac:spMkLst>
            <pc:docMk/>
            <pc:sldMk cId="2152705214" sldId="579"/>
            <ac:spMk id="7" creationId="{424BF8E6-F060-8444-8674-303A19E9D0E4}"/>
          </ac:spMkLst>
        </pc:spChg>
        <pc:picChg chg="mod">
          <ac:chgData name="Raymond Mushabe" userId="c276d7e5-a885-4d83-b838-c8f2f4dd528c" providerId="ADAL" clId="{A1E209A6-1B46-442B-84F0-4A0032DA06CE}" dt="2025-05-05T13:58:57.437" v="7010" actId="1037"/>
          <ac:picMkLst>
            <pc:docMk/>
            <pc:sldMk cId="2152705214" sldId="579"/>
            <ac:picMk id="4" creationId="{9F6ED998-CF7D-9F05-F9A6-A5381CD5EBD4}"/>
          </ac:picMkLst>
        </pc:picChg>
        <pc:picChg chg="mod">
          <ac:chgData name="Raymond Mushabe" userId="c276d7e5-a885-4d83-b838-c8f2f4dd528c" providerId="ADAL" clId="{A1E209A6-1B46-442B-84F0-4A0032DA06CE}" dt="2025-05-05T13:56:50.218" v="6958" actId="1038"/>
          <ac:picMkLst>
            <pc:docMk/>
            <pc:sldMk cId="2152705214" sldId="579"/>
            <ac:picMk id="8" creationId="{886CEEE9-1D1B-AE45-81D3-460FB1EAE00B}"/>
          </ac:picMkLst>
        </pc:picChg>
        <pc:picChg chg="mod">
          <ac:chgData name="Raymond Mushabe" userId="c276d7e5-a885-4d83-b838-c8f2f4dd528c" providerId="ADAL" clId="{A1E209A6-1B46-442B-84F0-4A0032DA06CE}" dt="2025-05-05T13:58:57.437" v="7010" actId="1037"/>
          <ac:picMkLst>
            <pc:docMk/>
            <pc:sldMk cId="2152705214" sldId="579"/>
            <ac:picMk id="9" creationId="{3C761972-6728-F8AD-1E57-623402751E87}"/>
          </ac:picMkLst>
        </pc:picChg>
        <pc:picChg chg="mod">
          <ac:chgData name="Raymond Mushabe" userId="c276d7e5-a885-4d83-b838-c8f2f4dd528c" providerId="ADAL" clId="{A1E209A6-1B46-442B-84F0-4A0032DA06CE}" dt="2025-05-05T13:56:33.336" v="6872" actId="1037"/>
          <ac:picMkLst>
            <pc:docMk/>
            <pc:sldMk cId="2152705214" sldId="579"/>
            <ac:picMk id="10" creationId="{AA7F4F68-4998-F546-A45B-C08FE4BF785A}"/>
          </ac:picMkLst>
        </pc:picChg>
        <pc:picChg chg="mod">
          <ac:chgData name="Raymond Mushabe" userId="c276d7e5-a885-4d83-b838-c8f2f4dd528c" providerId="ADAL" clId="{A1E209A6-1B46-442B-84F0-4A0032DA06CE}" dt="2025-05-05T13:59:13.420" v="7022" actId="1038"/>
          <ac:picMkLst>
            <pc:docMk/>
            <pc:sldMk cId="2152705214" sldId="579"/>
            <ac:picMk id="12" creationId="{ED9C1D19-5775-84BE-5265-272B70381E4B}"/>
          </ac:picMkLst>
        </pc:picChg>
        <pc:picChg chg="mod">
          <ac:chgData name="Raymond Mushabe" userId="c276d7e5-a885-4d83-b838-c8f2f4dd528c" providerId="ADAL" clId="{A1E209A6-1B46-442B-84F0-4A0032DA06CE}" dt="2025-05-05T13:58:35.060" v="6982" actId="1038"/>
          <ac:picMkLst>
            <pc:docMk/>
            <pc:sldMk cId="2152705214" sldId="579"/>
            <ac:picMk id="16" creationId="{E49E89F8-6860-244E-2411-D82A212EE7F1}"/>
          </ac:picMkLst>
        </pc:picChg>
        <pc:picChg chg="mod">
          <ac:chgData name="Raymond Mushabe" userId="c276d7e5-a885-4d83-b838-c8f2f4dd528c" providerId="ADAL" clId="{A1E209A6-1B46-442B-84F0-4A0032DA06CE}" dt="2025-05-05T13:58:35.060" v="6982" actId="1038"/>
          <ac:picMkLst>
            <pc:docMk/>
            <pc:sldMk cId="2152705214" sldId="579"/>
            <ac:picMk id="17" creationId="{9FFC0CF5-4E8B-B043-BBF1-3521313DADF2}"/>
          </ac:picMkLst>
        </pc:picChg>
        <pc:picChg chg="mod">
          <ac:chgData name="Raymond Mushabe" userId="c276d7e5-a885-4d83-b838-c8f2f4dd528c" providerId="ADAL" clId="{A1E209A6-1B46-442B-84F0-4A0032DA06CE}" dt="2025-05-05T13:58:35.060" v="6982" actId="1038"/>
          <ac:picMkLst>
            <pc:docMk/>
            <pc:sldMk cId="2152705214" sldId="579"/>
            <ac:picMk id="18" creationId="{7CBB623B-595B-254E-917C-3222364F9F09}"/>
          </ac:picMkLst>
        </pc:picChg>
        <pc:picChg chg="mod">
          <ac:chgData name="Raymond Mushabe" userId="c276d7e5-a885-4d83-b838-c8f2f4dd528c" providerId="ADAL" clId="{A1E209A6-1B46-442B-84F0-4A0032DA06CE}" dt="2025-05-05T13:58:57.437" v="7010" actId="1037"/>
          <ac:picMkLst>
            <pc:docMk/>
            <pc:sldMk cId="2152705214" sldId="579"/>
            <ac:picMk id="21" creationId="{D7171B5D-A5A1-664C-B498-FA7339BD6D37}"/>
          </ac:picMkLst>
        </pc:picChg>
        <pc:picChg chg="mod">
          <ac:chgData name="Raymond Mushabe" userId="c276d7e5-a885-4d83-b838-c8f2f4dd528c" providerId="ADAL" clId="{A1E209A6-1B46-442B-84F0-4A0032DA06CE}" dt="2025-05-05T13:58:35.060" v="6982" actId="1038"/>
          <ac:picMkLst>
            <pc:docMk/>
            <pc:sldMk cId="2152705214" sldId="579"/>
            <ac:picMk id="23" creationId="{73882A2E-2ABA-2749-AD9B-83A503B4DA60}"/>
          </ac:picMkLst>
        </pc:picChg>
      </pc:sldChg>
      <pc:sldChg chg="modSp mod">
        <pc:chgData name="Raymond Mushabe" userId="c276d7e5-a885-4d83-b838-c8f2f4dd528c" providerId="ADAL" clId="{A1E209A6-1B46-442B-84F0-4A0032DA06CE}" dt="2025-05-05T11:36:19.165" v="6056" actId="122"/>
        <pc:sldMkLst>
          <pc:docMk/>
          <pc:sldMk cId="2396895297" sldId="658"/>
        </pc:sldMkLst>
        <pc:spChg chg="mod">
          <ac:chgData name="Raymond Mushabe" userId="c276d7e5-a885-4d83-b838-c8f2f4dd528c" providerId="ADAL" clId="{A1E209A6-1B46-442B-84F0-4A0032DA06CE}" dt="2025-05-05T11:36:19.165" v="6056" actId="122"/>
          <ac:spMkLst>
            <pc:docMk/>
            <pc:sldMk cId="2396895297" sldId="658"/>
            <ac:spMk id="2" creationId="{17556CF8-4CDD-CA3F-7AB0-ED47CE402CF7}"/>
          </ac:spMkLst>
        </pc:spChg>
        <pc:spChg chg="mod">
          <ac:chgData name="Raymond Mushabe" userId="c276d7e5-a885-4d83-b838-c8f2f4dd528c" providerId="ADAL" clId="{A1E209A6-1B46-442B-84F0-4A0032DA06CE}" dt="2025-05-05T11:36:14.586" v="6054" actId="122"/>
          <ac:spMkLst>
            <pc:docMk/>
            <pc:sldMk cId="2396895297" sldId="658"/>
            <ac:spMk id="3" creationId="{6BDB3BF7-DD85-0651-EF03-EF29F44598BC}"/>
          </ac:spMkLst>
        </pc:spChg>
      </pc:sldChg>
      <pc:sldChg chg="addSp delSp modSp mod modAnim">
        <pc:chgData name="Raymond Mushabe" userId="c276d7e5-a885-4d83-b838-c8f2f4dd528c" providerId="ADAL" clId="{A1E209A6-1B46-442B-84F0-4A0032DA06CE}" dt="2025-05-06T09:33:45.711" v="8085" actId="207"/>
        <pc:sldMkLst>
          <pc:docMk/>
          <pc:sldMk cId="636636350" sldId="2519"/>
        </pc:sldMkLst>
        <pc:spChg chg="mod">
          <ac:chgData name="Raymond Mushabe" userId="c276d7e5-a885-4d83-b838-c8f2f4dd528c" providerId="ADAL" clId="{A1E209A6-1B46-442B-84F0-4A0032DA06CE}" dt="2025-05-05T11:24:48.206" v="6011" actId="14100"/>
          <ac:spMkLst>
            <pc:docMk/>
            <pc:sldMk cId="636636350" sldId="2519"/>
            <ac:spMk id="4" creationId="{6E961BDB-2080-AB34-B6AC-2838A0A37592}"/>
          </ac:spMkLst>
        </pc:spChg>
        <pc:spChg chg="mod">
          <ac:chgData name="Raymond Mushabe" userId="c276d7e5-a885-4d83-b838-c8f2f4dd528c" providerId="ADAL" clId="{A1E209A6-1B46-442B-84F0-4A0032DA06CE}" dt="2025-05-03T12:08:48.083" v="3774" actId="2711"/>
          <ac:spMkLst>
            <pc:docMk/>
            <pc:sldMk cId="636636350" sldId="2519"/>
            <ac:spMk id="8" creationId="{A834A731-7A17-367D-85A4-21852338AAF0}"/>
          </ac:spMkLst>
        </pc:spChg>
        <pc:spChg chg="mod">
          <ac:chgData name="Raymond Mushabe" userId="c276d7e5-a885-4d83-b838-c8f2f4dd528c" providerId="ADAL" clId="{A1E209A6-1B46-442B-84F0-4A0032DA06CE}" dt="2025-05-03T12:03:26.337" v="3669" actId="1037"/>
          <ac:spMkLst>
            <pc:docMk/>
            <pc:sldMk cId="636636350" sldId="2519"/>
            <ac:spMk id="29" creationId="{C4A643F3-1B07-4043-DB2D-7D353E474755}"/>
          </ac:spMkLst>
        </pc:spChg>
        <pc:spChg chg="mod">
          <ac:chgData name="Raymond Mushabe" userId="c276d7e5-a885-4d83-b838-c8f2f4dd528c" providerId="ADAL" clId="{A1E209A6-1B46-442B-84F0-4A0032DA06CE}" dt="2025-05-03T12:03:26.337" v="3669" actId="1037"/>
          <ac:spMkLst>
            <pc:docMk/>
            <pc:sldMk cId="636636350" sldId="2519"/>
            <ac:spMk id="34" creationId="{F196FE60-5037-8330-22A6-0BEC9C99E92E}"/>
          </ac:spMkLst>
        </pc:spChg>
        <pc:spChg chg="mod">
          <ac:chgData name="Raymond Mushabe" userId="c276d7e5-a885-4d83-b838-c8f2f4dd528c" providerId="ADAL" clId="{A1E209A6-1B46-442B-84F0-4A0032DA06CE}" dt="2025-05-06T09:33:45.711" v="8085" actId="207"/>
          <ac:spMkLst>
            <pc:docMk/>
            <pc:sldMk cId="636636350" sldId="2519"/>
            <ac:spMk id="50" creationId="{FD1C7BBE-6879-F2EC-DE85-C9294B2FE817}"/>
          </ac:spMkLst>
        </pc:spChg>
        <pc:spChg chg="mod">
          <ac:chgData name="Raymond Mushabe" userId="c276d7e5-a885-4d83-b838-c8f2f4dd528c" providerId="ADAL" clId="{A1E209A6-1B46-442B-84F0-4A0032DA06CE}" dt="2025-05-03T12:08:48.083" v="3774" actId="2711"/>
          <ac:spMkLst>
            <pc:docMk/>
            <pc:sldMk cId="636636350" sldId="2519"/>
            <ac:spMk id="51" creationId="{D1115265-7A7C-257A-20E0-DE64456E1453}"/>
          </ac:spMkLst>
        </pc:spChg>
        <pc:grpChg chg="mod">
          <ac:chgData name="Raymond Mushabe" userId="c276d7e5-a885-4d83-b838-c8f2f4dd528c" providerId="ADAL" clId="{A1E209A6-1B46-442B-84F0-4A0032DA06CE}" dt="2025-05-03T12:03:26.337" v="3669" actId="1037"/>
          <ac:grpSpMkLst>
            <pc:docMk/>
            <pc:sldMk cId="636636350" sldId="2519"/>
            <ac:grpSpMk id="49" creationId="{62E5BF43-E8EF-DFA3-47DD-5D167099530F}"/>
          </ac:grpSpMkLst>
        </pc:grp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9" creationId="{1286B0C6-F989-FC02-BA7D-AF6D824810F0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10" creationId="{D5868A24-FCB0-9C63-E91D-3A366402F358}"/>
          </ac:picMkLst>
        </pc:picChg>
        <pc:picChg chg="mod">
          <ac:chgData name="Raymond Mushabe" userId="c276d7e5-a885-4d83-b838-c8f2f4dd528c" providerId="ADAL" clId="{A1E209A6-1B46-442B-84F0-4A0032DA06CE}" dt="2025-05-03T11:10:45.833" v="2694" actId="1037"/>
          <ac:picMkLst>
            <pc:docMk/>
            <pc:sldMk cId="636636350" sldId="2519"/>
            <ac:picMk id="24" creationId="{DE5D4D81-1873-FAF5-ED56-47B3022294CA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30" creationId="{82CBC8F8-209B-8C76-E806-BA62575C58F4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32" creationId="{DE7A4698-7D64-7E04-67DD-1AAB43E1A99A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38" creationId="{C5C24D1A-06CC-700C-E95B-57486853E9E6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47" creationId="{D912D69E-B453-B8F9-16E4-70B56EF10742}"/>
          </ac:picMkLst>
        </pc:picChg>
        <pc:picChg chg="mod">
          <ac:chgData name="Raymond Mushabe" userId="c276d7e5-a885-4d83-b838-c8f2f4dd528c" providerId="ADAL" clId="{A1E209A6-1B46-442B-84F0-4A0032DA06CE}" dt="2025-05-03T12:08:48.083" v="3774" actId="2711"/>
          <ac:picMkLst>
            <pc:docMk/>
            <pc:sldMk cId="636636350" sldId="2519"/>
            <ac:picMk id="48" creationId="{5A1BDFBC-33AA-19C7-C8E4-130ACB54E64B}"/>
          </ac:picMkLst>
        </pc:picChg>
      </pc:sldChg>
      <pc:sldChg chg="addSp delSp modSp mod delAnim modAnim">
        <pc:chgData name="Raymond Mushabe" userId="c276d7e5-a885-4d83-b838-c8f2f4dd528c" providerId="ADAL" clId="{A1E209A6-1B46-442B-84F0-4A0032DA06CE}" dt="2025-05-06T09:48:44.166" v="8234" actId="108"/>
        <pc:sldMkLst>
          <pc:docMk/>
          <pc:sldMk cId="2967858668" sldId="2147481107"/>
        </pc:sldMkLst>
        <pc:spChg chg="add mod">
          <ac:chgData name="Raymond Mushabe" userId="c276d7e5-a885-4d83-b838-c8f2f4dd528c" providerId="ADAL" clId="{A1E209A6-1B46-442B-84F0-4A0032DA06CE}" dt="2025-05-05T11:27:18.832" v="6014" actId="1076"/>
          <ac:spMkLst>
            <pc:docMk/>
            <pc:sldMk cId="2967858668" sldId="2147481107"/>
            <ac:spMk id="4" creationId="{9E2AE82F-8E55-E1A1-FB2C-FCABEBE38457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5" creationId="{9F2FF687-02C0-4865-AFD4-A34FE1755149}"/>
          </ac:spMkLst>
        </pc:spChg>
        <pc:spChg chg="add mod">
          <ac:chgData name="Raymond Mushabe" userId="c276d7e5-a885-4d83-b838-c8f2f4dd528c" providerId="ADAL" clId="{A1E209A6-1B46-442B-84F0-4A0032DA06CE}" dt="2025-05-03T10:15:44.863" v="1465" actId="1036"/>
          <ac:spMkLst>
            <pc:docMk/>
            <pc:sldMk cId="2967858668" sldId="2147481107"/>
            <ac:spMk id="6" creationId="{EE18BFDC-1A97-7312-2622-D29559005D81}"/>
          </ac:spMkLst>
        </pc:spChg>
        <pc:spChg chg="add mod">
          <ac:chgData name="Raymond Mushabe" userId="c276d7e5-a885-4d83-b838-c8f2f4dd528c" providerId="ADAL" clId="{A1E209A6-1B46-442B-84F0-4A0032DA06CE}" dt="2025-05-03T12:08:57.212" v="3775" actId="2711"/>
          <ac:spMkLst>
            <pc:docMk/>
            <pc:sldMk cId="2967858668" sldId="2147481107"/>
            <ac:spMk id="7" creationId="{3D862626-5432-4DC0-6ADF-D785FB204336}"/>
          </ac:spMkLst>
        </pc:spChg>
        <pc:spChg chg="add mod">
          <ac:chgData name="Raymond Mushabe" userId="c276d7e5-a885-4d83-b838-c8f2f4dd528c" providerId="ADAL" clId="{A1E209A6-1B46-442B-84F0-4A0032DA06CE}" dt="2025-05-03T10:15:44.863" v="1465" actId="1036"/>
          <ac:spMkLst>
            <pc:docMk/>
            <pc:sldMk cId="2967858668" sldId="2147481107"/>
            <ac:spMk id="8" creationId="{36202077-212D-2B64-E098-14CBD024B239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9" creationId="{D13CB5F6-2088-651E-ABF3-C359D00DBA8F}"/>
          </ac:spMkLst>
        </pc:spChg>
        <pc:spChg chg="add mod">
          <ac:chgData name="Raymond Mushabe" userId="c276d7e5-a885-4d83-b838-c8f2f4dd528c" providerId="ADAL" clId="{A1E209A6-1B46-442B-84F0-4A0032DA06CE}" dt="2025-05-03T08:46:03.649" v="63" actId="1076"/>
          <ac:spMkLst>
            <pc:docMk/>
            <pc:sldMk cId="2967858668" sldId="2147481107"/>
            <ac:spMk id="10" creationId="{C0ADF00B-5217-F620-6CEC-66CDAFB7700A}"/>
          </ac:spMkLst>
        </pc:spChg>
        <pc:spChg chg="add mod">
          <ac:chgData name="Raymond Mushabe" userId="c276d7e5-a885-4d83-b838-c8f2f4dd528c" providerId="ADAL" clId="{A1E209A6-1B46-442B-84F0-4A0032DA06CE}" dt="2025-05-03T10:15:44.863" v="1465" actId="1036"/>
          <ac:spMkLst>
            <pc:docMk/>
            <pc:sldMk cId="2967858668" sldId="2147481107"/>
            <ac:spMk id="11" creationId="{D593CFB8-F0DD-AC01-EEF5-923073763F97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12" creationId="{967FAA7A-F598-4D1C-22A5-82DA2341414A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13" creationId="{552977AC-6A5C-EFFD-C620-5ABF51FFE26F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14" creationId="{4F3F31F5-2783-F60B-2493-A0F78674C7A6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15" creationId="{4AC10091-3D68-1EED-2F6F-042A6631AA31}"/>
          </ac:spMkLst>
        </pc:spChg>
        <pc:spChg chg="add mod">
          <ac:chgData name="Raymond Mushabe" userId="c276d7e5-a885-4d83-b838-c8f2f4dd528c" providerId="ADAL" clId="{A1E209A6-1B46-442B-84F0-4A0032DA06CE}" dt="2025-05-03T12:08:57.212" v="3775" actId="2711"/>
          <ac:spMkLst>
            <pc:docMk/>
            <pc:sldMk cId="2967858668" sldId="2147481107"/>
            <ac:spMk id="16" creationId="{ED1A8C1F-C0EA-FA30-EA33-2080B778B50E}"/>
          </ac:spMkLst>
        </pc:spChg>
        <pc:spChg chg="add mod">
          <ac:chgData name="Raymond Mushabe" userId="c276d7e5-a885-4d83-b838-c8f2f4dd528c" providerId="ADAL" clId="{A1E209A6-1B46-442B-84F0-4A0032DA06CE}" dt="2025-05-03T08:44:40.485" v="49" actId="688"/>
          <ac:spMkLst>
            <pc:docMk/>
            <pc:sldMk cId="2967858668" sldId="2147481107"/>
            <ac:spMk id="18" creationId="{F509965C-6484-9716-09BC-87CB8599DA94}"/>
          </ac:spMkLst>
        </pc:spChg>
        <pc:spChg chg="add mod">
          <ac:chgData name="Raymond Mushabe" userId="c276d7e5-a885-4d83-b838-c8f2f4dd528c" providerId="ADAL" clId="{A1E209A6-1B46-442B-84F0-4A0032DA06CE}" dt="2025-05-03T10:15:44.863" v="1465" actId="1036"/>
          <ac:spMkLst>
            <pc:docMk/>
            <pc:sldMk cId="2967858668" sldId="2147481107"/>
            <ac:spMk id="19" creationId="{833B98A2-1BF4-3D3F-2F1A-F9C8F0DE6F19}"/>
          </ac:spMkLst>
        </pc:spChg>
        <pc:spChg chg="mod">
          <ac:chgData name="Raymond Mushabe" userId="c276d7e5-a885-4d83-b838-c8f2f4dd528c" providerId="ADAL" clId="{A1E209A6-1B46-442B-84F0-4A0032DA06CE}" dt="2025-05-06T09:48:44.166" v="8234" actId="108"/>
          <ac:spMkLst>
            <pc:docMk/>
            <pc:sldMk cId="2967858668" sldId="2147481107"/>
            <ac:spMk id="20" creationId="{47237192-362D-6704-4531-C7C2C040E5B9}"/>
          </ac:spMkLst>
        </pc:spChg>
        <pc:spChg chg="add mod">
          <ac:chgData name="Raymond Mushabe" userId="c276d7e5-a885-4d83-b838-c8f2f4dd528c" providerId="ADAL" clId="{A1E209A6-1B46-442B-84F0-4A0032DA06CE}" dt="2025-05-03T10:15:44.863" v="1465" actId="1036"/>
          <ac:spMkLst>
            <pc:docMk/>
            <pc:sldMk cId="2967858668" sldId="2147481107"/>
            <ac:spMk id="22" creationId="{9F5BEC5B-6900-2B0A-07F7-1739443DA9AD}"/>
          </ac:spMkLst>
        </pc:spChg>
        <pc:spChg chg="add mod">
          <ac:chgData name="Raymond Mushabe" userId="c276d7e5-a885-4d83-b838-c8f2f4dd528c" providerId="ADAL" clId="{A1E209A6-1B46-442B-84F0-4A0032DA06CE}" dt="2025-05-03T08:52:42.424" v="92" actId="1076"/>
          <ac:spMkLst>
            <pc:docMk/>
            <pc:sldMk cId="2967858668" sldId="2147481107"/>
            <ac:spMk id="24" creationId="{33E24EEE-F723-7D48-D83B-1B400C425176}"/>
          </ac:spMkLst>
        </pc:spChg>
        <pc:spChg chg="add mod">
          <ac:chgData name="Raymond Mushabe" userId="c276d7e5-a885-4d83-b838-c8f2f4dd528c" providerId="ADAL" clId="{A1E209A6-1B46-442B-84F0-4A0032DA06CE}" dt="2025-05-05T11:46:46.868" v="6142" actId="164"/>
          <ac:spMkLst>
            <pc:docMk/>
            <pc:sldMk cId="2967858668" sldId="2147481107"/>
            <ac:spMk id="25" creationId="{AA08F2C2-8389-482A-4AC0-94B123438CCF}"/>
          </ac:spMkLst>
        </pc:spChg>
        <pc:spChg chg="add mod">
          <ac:chgData name="Raymond Mushabe" userId="c276d7e5-a885-4d83-b838-c8f2f4dd528c" providerId="ADAL" clId="{A1E209A6-1B46-442B-84F0-4A0032DA06CE}" dt="2025-05-03T10:15:51.849" v="1469" actId="1038"/>
          <ac:spMkLst>
            <pc:docMk/>
            <pc:sldMk cId="2967858668" sldId="2147481107"/>
            <ac:spMk id="28" creationId="{160DB501-317B-2ECD-693F-CEC35B40DEC2}"/>
          </ac:spMkLst>
        </pc:spChg>
        <pc:spChg chg="add mod">
          <ac:chgData name="Raymond Mushabe" userId="c276d7e5-a885-4d83-b838-c8f2f4dd528c" providerId="ADAL" clId="{A1E209A6-1B46-442B-84F0-4A0032DA06CE}" dt="2025-05-03T12:05:33.580" v="3766" actId="1076"/>
          <ac:spMkLst>
            <pc:docMk/>
            <pc:sldMk cId="2967858668" sldId="2147481107"/>
            <ac:spMk id="30" creationId="{843AF486-16DE-58FF-410A-91CE68D326FC}"/>
          </ac:spMkLst>
        </pc:spChg>
        <pc:spChg chg="add mod">
          <ac:chgData name="Raymond Mushabe" userId="c276d7e5-a885-4d83-b838-c8f2f4dd528c" providerId="ADAL" clId="{A1E209A6-1B46-442B-84F0-4A0032DA06CE}" dt="2025-05-05T11:44:43.173" v="6126" actId="164"/>
          <ac:spMkLst>
            <pc:docMk/>
            <pc:sldMk cId="2967858668" sldId="2147481107"/>
            <ac:spMk id="31" creationId="{B859E6ED-6FD2-9BCD-8F9E-C430DD1F895A}"/>
          </ac:spMkLst>
        </pc:spChg>
        <pc:spChg chg="mod">
          <ac:chgData name="Raymond Mushabe" userId="c276d7e5-a885-4d83-b838-c8f2f4dd528c" providerId="ADAL" clId="{A1E209A6-1B46-442B-84F0-4A0032DA06CE}" dt="2025-05-05T11:48:12.587" v="6193" actId="20577"/>
          <ac:spMkLst>
            <pc:docMk/>
            <pc:sldMk cId="2967858668" sldId="2147481107"/>
            <ac:spMk id="33" creationId="{1463E170-7799-D7FC-7D6E-369CE41D5EE9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34" creationId="{7E177F2A-EBA0-EB78-7B5F-A0C027A2C50A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35" creationId="{C34672B8-EF02-840B-60A8-A9F1AE9448A6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36" creationId="{DF279035-F0B4-18BB-B182-18864483A01C}"/>
          </ac:spMkLst>
        </pc:spChg>
        <pc:spChg chg="add mod">
          <ac:chgData name="Raymond Mushabe" userId="c276d7e5-a885-4d83-b838-c8f2f4dd528c" providerId="ADAL" clId="{A1E209A6-1B46-442B-84F0-4A0032DA06CE}" dt="2025-05-05T11:44:34.300" v="6125" actId="164"/>
          <ac:spMkLst>
            <pc:docMk/>
            <pc:sldMk cId="2967858668" sldId="2147481107"/>
            <ac:spMk id="37" creationId="{0DE63094-1BED-0A38-1594-88A8CC6DCE39}"/>
          </ac:spMkLst>
        </pc:spChg>
        <pc:spChg chg="mod">
          <ac:chgData name="Raymond Mushabe" userId="c276d7e5-a885-4d83-b838-c8f2f4dd528c" providerId="ADAL" clId="{A1E209A6-1B46-442B-84F0-4A0032DA06CE}" dt="2025-05-06T07:22:48.680" v="7539" actId="20577"/>
          <ac:spMkLst>
            <pc:docMk/>
            <pc:sldMk cId="2967858668" sldId="2147481107"/>
            <ac:spMk id="40" creationId="{153C722F-8A2F-FA07-466C-ABBB816F7E41}"/>
          </ac:spMkLst>
        </pc:spChg>
        <pc:spChg chg="mod">
          <ac:chgData name="Raymond Mushabe" userId="c276d7e5-a885-4d83-b838-c8f2f4dd528c" providerId="ADAL" clId="{A1E209A6-1B46-442B-84F0-4A0032DA06CE}" dt="2025-05-05T11:42:38.103" v="6114" actId="1076"/>
          <ac:spMkLst>
            <pc:docMk/>
            <pc:sldMk cId="2967858668" sldId="2147481107"/>
            <ac:spMk id="44" creationId="{7617C7A1-81BF-1B0D-8941-4437C18F21D0}"/>
          </ac:spMkLst>
        </pc:spChg>
        <pc:grpChg chg="mod">
          <ac:chgData name="Raymond Mushabe" userId="c276d7e5-a885-4d83-b838-c8f2f4dd528c" providerId="ADAL" clId="{A1E209A6-1B46-442B-84F0-4A0032DA06CE}" dt="2025-05-05T11:46:46.868" v="6142" actId="164"/>
          <ac:grpSpMkLst>
            <pc:docMk/>
            <pc:sldMk cId="2967858668" sldId="2147481107"/>
            <ac:grpSpMk id="17" creationId="{82F7DBC9-FE90-DD69-0EF2-DA5BA1EC15DD}"/>
          </ac:grpSpMkLst>
        </pc:grpChg>
        <pc:grpChg chg="add mod">
          <ac:chgData name="Raymond Mushabe" userId="c276d7e5-a885-4d83-b838-c8f2f4dd528c" providerId="ADAL" clId="{A1E209A6-1B46-442B-84F0-4A0032DA06CE}" dt="2025-05-05T11:44:43.173" v="6126" actId="164"/>
          <ac:grpSpMkLst>
            <pc:docMk/>
            <pc:sldMk cId="2967858668" sldId="2147481107"/>
            <ac:grpSpMk id="21" creationId="{9DAD094B-DC01-EE69-9CE1-F5C1E6E08456}"/>
          </ac:grpSpMkLst>
        </pc:grpChg>
        <pc:grpChg chg="add mod">
          <ac:chgData name="Raymond Mushabe" userId="c276d7e5-a885-4d83-b838-c8f2f4dd528c" providerId="ADAL" clId="{A1E209A6-1B46-442B-84F0-4A0032DA06CE}" dt="2025-05-05T11:46:46.868" v="6142" actId="164"/>
          <ac:grpSpMkLst>
            <pc:docMk/>
            <pc:sldMk cId="2967858668" sldId="2147481107"/>
            <ac:grpSpMk id="26" creationId="{BC88FFC4-713E-C749-A072-7F9D4A80F5F6}"/>
          </ac:grpSpMkLst>
        </pc:grpChg>
        <pc:picChg chg="mod">
          <ac:chgData name="Raymond Mushabe" userId="c276d7e5-a885-4d83-b838-c8f2f4dd528c" providerId="ADAL" clId="{A1E209A6-1B46-442B-84F0-4A0032DA06CE}" dt="2025-05-05T11:44:43.173" v="6126" actId="164"/>
          <ac:picMkLst>
            <pc:docMk/>
            <pc:sldMk cId="2967858668" sldId="2147481107"/>
            <ac:picMk id="23" creationId="{BBBC9630-E7AF-C082-6618-958F8D3EE603}"/>
          </ac:picMkLst>
        </pc:picChg>
        <pc:picChg chg="mod">
          <ac:chgData name="Raymond Mushabe" userId="c276d7e5-a885-4d83-b838-c8f2f4dd528c" providerId="ADAL" clId="{A1E209A6-1B46-442B-84F0-4A0032DA06CE}" dt="2025-05-05T13:45:35.677" v="6593" actId="1037"/>
          <ac:picMkLst>
            <pc:docMk/>
            <pc:sldMk cId="2967858668" sldId="2147481107"/>
            <ac:picMk id="43" creationId="{CDB28076-C370-BC74-F506-6F61FB0E1244}"/>
          </ac:picMkLst>
        </pc:picChg>
      </pc:sldChg>
      <pc:sldChg chg="addSp modSp mod modAnim">
        <pc:chgData name="Raymond Mushabe" userId="c276d7e5-a885-4d83-b838-c8f2f4dd528c" providerId="ADAL" clId="{A1E209A6-1B46-442B-84F0-4A0032DA06CE}" dt="2025-05-06T09:47:03.416" v="8233"/>
        <pc:sldMkLst>
          <pc:docMk/>
          <pc:sldMk cId="3582409608" sldId="2147481108"/>
        </pc:sldMkLst>
        <pc:spChg chg="add mod">
          <ac:chgData name="Raymond Mushabe" userId="c276d7e5-a885-4d83-b838-c8f2f4dd528c" providerId="ADAL" clId="{A1E209A6-1B46-442B-84F0-4A0032DA06CE}" dt="2025-05-03T12:09:08.625" v="3776" actId="2711"/>
          <ac:spMkLst>
            <pc:docMk/>
            <pc:sldMk cId="3582409608" sldId="2147481108"/>
            <ac:spMk id="2" creationId="{EF5D0827-106D-86CF-BEF8-31C23F24F8E5}"/>
          </ac:spMkLst>
        </pc:spChg>
        <pc:spChg chg="add mod">
          <ac:chgData name="Raymond Mushabe" userId="c276d7e5-a885-4d83-b838-c8f2f4dd528c" providerId="ADAL" clId="{A1E209A6-1B46-442B-84F0-4A0032DA06CE}" dt="2025-05-05T11:27:25.840" v="6015"/>
          <ac:spMkLst>
            <pc:docMk/>
            <pc:sldMk cId="3582409608" sldId="2147481108"/>
            <ac:spMk id="7" creationId="{F99E836B-5775-A9B9-E0B7-55152E190A69}"/>
          </ac:spMkLst>
        </pc:spChg>
        <pc:spChg chg="mod">
          <ac:chgData name="Raymond Mushabe" userId="c276d7e5-a885-4d83-b838-c8f2f4dd528c" providerId="ADAL" clId="{A1E209A6-1B46-442B-84F0-4A0032DA06CE}" dt="2025-05-06T09:46:43.850" v="8230" actId="20577"/>
          <ac:spMkLst>
            <pc:docMk/>
            <pc:sldMk cId="3582409608" sldId="2147481108"/>
            <ac:spMk id="20" creationId="{5555B407-DA96-E490-27CC-22819F7650E1}"/>
          </ac:spMkLst>
        </pc:spChg>
        <pc:spChg chg="mod">
          <ac:chgData name="Raymond Mushabe" userId="c276d7e5-a885-4d83-b838-c8f2f4dd528c" providerId="ADAL" clId="{A1E209A6-1B46-442B-84F0-4A0032DA06CE}" dt="2025-05-03T12:09:08.625" v="3776" actId="2711"/>
          <ac:spMkLst>
            <pc:docMk/>
            <pc:sldMk cId="3582409608" sldId="2147481108"/>
            <ac:spMk id="33" creationId="{8E8B025A-5979-7C41-015F-D05881BE38FD}"/>
          </ac:spMkLst>
        </pc:spChg>
        <pc:spChg chg="mod">
          <ac:chgData name="Raymond Mushabe" userId="c276d7e5-a885-4d83-b838-c8f2f4dd528c" providerId="ADAL" clId="{A1E209A6-1B46-442B-84F0-4A0032DA06CE}" dt="2025-05-03T12:09:08.625" v="3776" actId="2711"/>
          <ac:spMkLst>
            <pc:docMk/>
            <pc:sldMk cId="3582409608" sldId="2147481108"/>
            <ac:spMk id="44" creationId="{9E3AA390-0FA6-6351-8655-57C2F94B9CD8}"/>
          </ac:spMkLst>
        </pc:spChg>
        <pc:graphicFrameChg chg="modGraphic">
          <ac:chgData name="Raymond Mushabe" userId="c276d7e5-a885-4d83-b838-c8f2f4dd528c" providerId="ADAL" clId="{A1E209A6-1B46-442B-84F0-4A0032DA06CE}" dt="2025-05-06T07:21:57.909" v="7533" actId="2711"/>
          <ac:graphicFrameMkLst>
            <pc:docMk/>
            <pc:sldMk cId="3582409608" sldId="2147481108"/>
            <ac:graphicFrameMk id="6" creationId="{C554B623-0C3C-32EF-84D3-3E85552A05B4}"/>
          </ac:graphicFrameMkLst>
        </pc:graphicFrameChg>
        <pc:graphicFrameChg chg="modGraphic">
          <ac:chgData name="Raymond Mushabe" userId="c276d7e5-a885-4d83-b838-c8f2f4dd528c" providerId="ADAL" clId="{A1E209A6-1B46-442B-84F0-4A0032DA06CE}" dt="2025-05-06T07:21:48.927" v="7532" actId="2711"/>
          <ac:graphicFrameMkLst>
            <pc:docMk/>
            <pc:sldMk cId="3582409608" sldId="2147481108"/>
            <ac:graphicFrameMk id="8" creationId="{EA744554-7F6A-1764-6EFA-EF08E25A3009}"/>
          </ac:graphicFrameMkLst>
        </pc:graphicFrameChg>
        <pc:picChg chg="mod">
          <ac:chgData name="Raymond Mushabe" userId="c276d7e5-a885-4d83-b838-c8f2f4dd528c" providerId="ADAL" clId="{A1E209A6-1B46-442B-84F0-4A0032DA06CE}" dt="2025-05-05T13:45:43.085" v="6602" actId="1037"/>
          <ac:picMkLst>
            <pc:docMk/>
            <pc:sldMk cId="3582409608" sldId="2147481108"/>
            <ac:picMk id="43" creationId="{10D54D71-C511-DF8B-EEF9-A14AA80D2792}"/>
          </ac:picMkLst>
        </pc:picChg>
      </pc:sldChg>
      <pc:sldChg chg="addSp delSp modSp mod modAnim">
        <pc:chgData name="Raymond Mushabe" userId="c276d7e5-a885-4d83-b838-c8f2f4dd528c" providerId="ADAL" clId="{A1E209A6-1B46-442B-84F0-4A0032DA06CE}" dt="2025-05-06T06:57:59.998" v="7134"/>
        <pc:sldMkLst>
          <pc:docMk/>
          <pc:sldMk cId="2360487479" sldId="2147481109"/>
        </pc:sldMkLst>
        <pc:spChg chg="add mod">
          <ac:chgData name="Raymond Mushabe" userId="c276d7e5-a885-4d83-b838-c8f2f4dd528c" providerId="ADAL" clId="{A1E209A6-1B46-442B-84F0-4A0032DA06CE}" dt="2025-05-05T11:51:21.790" v="6197" actId="164"/>
          <ac:spMkLst>
            <pc:docMk/>
            <pc:sldMk cId="2360487479" sldId="2147481109"/>
            <ac:spMk id="2" creationId="{B64655E9-E586-D46F-AEF2-95F7EA2FEB90}"/>
          </ac:spMkLst>
        </pc:spChg>
        <pc:spChg chg="add mod">
          <ac:chgData name="Raymond Mushabe" userId="c276d7e5-a885-4d83-b838-c8f2f4dd528c" providerId="ADAL" clId="{A1E209A6-1B46-442B-84F0-4A0032DA06CE}" dt="2025-05-06T06:55:08.123" v="7109" actId="14100"/>
          <ac:spMkLst>
            <pc:docMk/>
            <pc:sldMk cId="2360487479" sldId="2147481109"/>
            <ac:spMk id="3" creationId="{7EA07528-EEDE-75EB-8F3E-1F49612603EE}"/>
          </ac:spMkLst>
        </pc:spChg>
        <pc:spChg chg="add mod">
          <ac:chgData name="Raymond Mushabe" userId="c276d7e5-a885-4d83-b838-c8f2f4dd528c" providerId="ADAL" clId="{A1E209A6-1B46-442B-84F0-4A0032DA06CE}" dt="2025-05-06T06:55:16.702" v="7129" actId="1036"/>
          <ac:spMkLst>
            <pc:docMk/>
            <pc:sldMk cId="2360487479" sldId="2147481109"/>
            <ac:spMk id="7" creationId="{B550C670-C039-1F5F-2501-606FA0FA5223}"/>
          </ac:spMkLst>
        </pc:spChg>
        <pc:spChg chg="add mod">
          <ac:chgData name="Raymond Mushabe" userId="c276d7e5-a885-4d83-b838-c8f2f4dd528c" providerId="ADAL" clId="{A1E209A6-1B46-442B-84F0-4A0032DA06CE}" dt="2025-05-05T11:27:29.114" v="6016"/>
          <ac:spMkLst>
            <pc:docMk/>
            <pc:sldMk cId="2360487479" sldId="2147481109"/>
            <ac:spMk id="10" creationId="{ADE518B8-F015-57B4-381D-21F2AB2DBF24}"/>
          </ac:spMkLst>
        </pc:spChg>
        <pc:spChg chg="mod">
          <ac:chgData name="Raymond Mushabe" userId="c276d7e5-a885-4d83-b838-c8f2f4dd528c" providerId="ADAL" clId="{A1E209A6-1B46-442B-84F0-4A0032DA06CE}" dt="2025-05-05T12:12:22.312" v="6426" actId="1076"/>
          <ac:spMkLst>
            <pc:docMk/>
            <pc:sldMk cId="2360487479" sldId="2147481109"/>
            <ac:spMk id="33" creationId="{D536F5F3-D0FE-88AC-F100-C428E17C194D}"/>
          </ac:spMkLst>
        </pc:spChg>
        <pc:spChg chg="mod">
          <ac:chgData name="Raymond Mushabe" userId="c276d7e5-a885-4d83-b838-c8f2f4dd528c" providerId="ADAL" clId="{A1E209A6-1B46-442B-84F0-4A0032DA06CE}" dt="2025-05-03T12:10:13.396" v="3807" actId="2711"/>
          <ac:spMkLst>
            <pc:docMk/>
            <pc:sldMk cId="2360487479" sldId="2147481109"/>
            <ac:spMk id="44" creationId="{E3B86D8C-22C7-16D1-9BD2-258BBAF57D16}"/>
          </ac:spMkLst>
        </pc:spChg>
        <pc:grpChg chg="add mod">
          <ac:chgData name="Raymond Mushabe" userId="c276d7e5-a885-4d83-b838-c8f2f4dd528c" providerId="ADAL" clId="{A1E209A6-1B46-442B-84F0-4A0032DA06CE}" dt="2025-05-06T06:55:24.530" v="7130" actId="164"/>
          <ac:grpSpMkLst>
            <pc:docMk/>
            <pc:sldMk cId="2360487479" sldId="2147481109"/>
            <ac:grpSpMk id="9" creationId="{598244C2-602A-5B45-5FFD-5850AC5399C9}"/>
          </ac:grpSpMkLst>
        </pc:grpChg>
        <pc:grpChg chg="add mod">
          <ac:chgData name="Raymond Mushabe" userId="c276d7e5-a885-4d83-b838-c8f2f4dd528c" providerId="ADAL" clId="{A1E209A6-1B46-442B-84F0-4A0032DA06CE}" dt="2025-05-06T06:55:24.530" v="7130" actId="164"/>
          <ac:grpSpMkLst>
            <pc:docMk/>
            <pc:sldMk cId="2360487479" sldId="2147481109"/>
            <ac:grpSpMk id="11" creationId="{9B8A056C-A228-12A3-8751-8D9E6C7E5CA1}"/>
          </ac:grpSpMkLst>
        </pc:grpChg>
        <pc:picChg chg="add mod ord">
          <ac:chgData name="Raymond Mushabe" userId="c276d7e5-a885-4d83-b838-c8f2f4dd528c" providerId="ADAL" clId="{A1E209A6-1B46-442B-84F0-4A0032DA06CE}" dt="2025-05-06T06:55:24.530" v="7130" actId="164"/>
          <ac:picMkLst>
            <pc:docMk/>
            <pc:sldMk cId="2360487479" sldId="2147481109"/>
            <ac:picMk id="8" creationId="{88B1DABC-4410-FC88-0435-3FEC5573539D}"/>
          </ac:picMkLst>
        </pc:picChg>
        <pc:picChg chg="mod">
          <ac:chgData name="Raymond Mushabe" userId="c276d7e5-a885-4d83-b838-c8f2f4dd528c" providerId="ADAL" clId="{A1E209A6-1B46-442B-84F0-4A0032DA06CE}" dt="2025-05-03T12:10:13.396" v="3807" actId="2711"/>
          <ac:picMkLst>
            <pc:docMk/>
            <pc:sldMk cId="2360487479" sldId="2147481109"/>
            <ac:picMk id="43" creationId="{AD060BFD-6C10-7F23-81E1-71CB169976AB}"/>
          </ac:picMkLst>
        </pc:picChg>
        <pc:cxnChg chg="add mod">
          <ac:chgData name="Raymond Mushabe" userId="c276d7e5-a885-4d83-b838-c8f2f4dd528c" providerId="ADAL" clId="{A1E209A6-1B46-442B-84F0-4A0032DA06CE}" dt="2025-05-06T06:55:16.702" v="7129" actId="1036"/>
          <ac:cxnSpMkLst>
            <pc:docMk/>
            <pc:sldMk cId="2360487479" sldId="2147481109"/>
            <ac:cxnSpMk id="6" creationId="{3A49ABD5-0F2B-4709-8B08-267C3FC9805C}"/>
          </ac:cxnSpMkLst>
        </pc:cxnChg>
      </pc:sldChg>
      <pc:sldChg chg="modSp del mod modShow">
        <pc:chgData name="Raymond Mushabe" userId="c276d7e5-a885-4d83-b838-c8f2f4dd528c" providerId="ADAL" clId="{A1E209A6-1B46-442B-84F0-4A0032DA06CE}" dt="2025-05-03T12:41:48.062" v="4562" actId="2696"/>
        <pc:sldMkLst>
          <pc:docMk/>
          <pc:sldMk cId="2197832007" sldId="2147481110"/>
        </pc:sldMkLst>
      </pc:sldChg>
      <pc:sldChg chg="addSp delSp modSp mod modAnim">
        <pc:chgData name="Raymond Mushabe" userId="c276d7e5-a885-4d83-b838-c8f2f4dd528c" providerId="ADAL" clId="{A1E209A6-1B46-442B-84F0-4A0032DA06CE}" dt="2025-05-06T07:07:59.142" v="7357" actId="33524"/>
        <pc:sldMkLst>
          <pc:docMk/>
          <pc:sldMk cId="47639392" sldId="2147481111"/>
        </pc:sldMkLst>
        <pc:spChg chg="mod">
          <ac:chgData name="Raymond Mushabe" userId="c276d7e5-a885-4d83-b838-c8f2f4dd528c" providerId="ADAL" clId="{A1E209A6-1B46-442B-84F0-4A0032DA06CE}" dt="2025-05-05T11:01:34.577" v="5541" actId="1037"/>
          <ac:spMkLst>
            <pc:docMk/>
            <pc:sldMk cId="47639392" sldId="2147481111"/>
            <ac:spMk id="8" creationId="{3573394D-FFF7-8A7A-BFC7-7852A536D482}"/>
          </ac:spMkLst>
        </pc:spChg>
        <pc:spChg chg="mod">
          <ac:chgData name="Raymond Mushabe" userId="c276d7e5-a885-4d83-b838-c8f2f4dd528c" providerId="ADAL" clId="{A1E209A6-1B46-442B-84F0-4A0032DA06CE}" dt="2025-05-05T11:00:59.512" v="5381" actId="1037"/>
          <ac:spMkLst>
            <pc:docMk/>
            <pc:sldMk cId="47639392" sldId="2147481111"/>
            <ac:spMk id="9" creationId="{F50A90AE-9E37-94EB-CA77-41D354421E17}"/>
          </ac:spMkLst>
        </pc:spChg>
        <pc:spChg chg="add mod">
          <ac:chgData name="Raymond Mushabe" userId="c276d7e5-a885-4d83-b838-c8f2f4dd528c" providerId="ADAL" clId="{A1E209A6-1B46-442B-84F0-4A0032DA06CE}" dt="2025-05-05T12:18:16.543" v="6480" actId="164"/>
          <ac:spMkLst>
            <pc:docMk/>
            <pc:sldMk cId="47639392" sldId="2147481111"/>
            <ac:spMk id="16" creationId="{11B7C4E5-212C-2B4B-CE99-42DD09D48542}"/>
          </ac:spMkLst>
        </pc:spChg>
        <pc:spChg chg="add mod">
          <ac:chgData name="Raymond Mushabe" userId="c276d7e5-a885-4d83-b838-c8f2f4dd528c" providerId="ADAL" clId="{A1E209A6-1B46-442B-84F0-4A0032DA06CE}" dt="2025-05-05T12:18:10.118" v="6479" actId="164"/>
          <ac:spMkLst>
            <pc:docMk/>
            <pc:sldMk cId="47639392" sldId="2147481111"/>
            <ac:spMk id="17" creationId="{DC09592F-B198-ABC9-9918-B191D6447D1E}"/>
          </ac:spMkLst>
        </pc:spChg>
        <pc:spChg chg="add mod">
          <ac:chgData name="Raymond Mushabe" userId="c276d7e5-a885-4d83-b838-c8f2f4dd528c" providerId="ADAL" clId="{A1E209A6-1B46-442B-84F0-4A0032DA06CE}" dt="2025-05-05T11:28:22.396" v="6039"/>
          <ac:spMkLst>
            <pc:docMk/>
            <pc:sldMk cId="47639392" sldId="2147481111"/>
            <ac:spMk id="18" creationId="{207961C6-DB2D-3C03-B58D-15405101F065}"/>
          </ac:spMkLst>
        </pc:spChg>
        <pc:spChg chg="mod">
          <ac:chgData name="Raymond Mushabe" userId="c276d7e5-a885-4d83-b838-c8f2f4dd528c" providerId="ADAL" clId="{A1E209A6-1B46-442B-84F0-4A0032DA06CE}" dt="2025-05-06T07:07:59.142" v="7357" actId="33524"/>
          <ac:spMkLst>
            <pc:docMk/>
            <pc:sldMk cId="47639392" sldId="2147481111"/>
            <ac:spMk id="20" creationId="{7E30CAF5-CD9B-7B30-59A3-882362FFDB50}"/>
          </ac:spMkLst>
        </pc:spChg>
        <pc:spChg chg="mod">
          <ac:chgData name="Raymond Mushabe" userId="c276d7e5-a885-4d83-b838-c8f2f4dd528c" providerId="ADAL" clId="{A1E209A6-1B46-442B-84F0-4A0032DA06CE}" dt="2025-05-03T12:37:05.815" v="4414" actId="2711"/>
          <ac:spMkLst>
            <pc:docMk/>
            <pc:sldMk cId="47639392" sldId="2147481111"/>
            <ac:spMk id="33" creationId="{EF90F624-605B-3C27-298D-3E625A835312}"/>
          </ac:spMkLst>
        </pc:spChg>
        <pc:spChg chg="mod">
          <ac:chgData name="Raymond Mushabe" userId="c276d7e5-a885-4d83-b838-c8f2f4dd528c" providerId="ADAL" clId="{A1E209A6-1B46-442B-84F0-4A0032DA06CE}" dt="2025-05-05T11:01:12.321" v="5410" actId="1037"/>
          <ac:spMkLst>
            <pc:docMk/>
            <pc:sldMk cId="47639392" sldId="2147481111"/>
            <ac:spMk id="40" creationId="{84BCFE2C-BE46-03EC-A91C-5B7B6161EB08}"/>
          </ac:spMkLst>
        </pc:spChg>
        <pc:spChg chg="mod">
          <ac:chgData name="Raymond Mushabe" userId="c276d7e5-a885-4d83-b838-c8f2f4dd528c" providerId="ADAL" clId="{A1E209A6-1B46-442B-84F0-4A0032DA06CE}" dt="2025-05-03T12:37:05.815" v="4414" actId="2711"/>
          <ac:spMkLst>
            <pc:docMk/>
            <pc:sldMk cId="47639392" sldId="2147481111"/>
            <ac:spMk id="44" creationId="{5937A9A5-46ED-3886-60FE-361722ADB297}"/>
          </ac:spMkLst>
        </pc:spChg>
        <pc:grpChg chg="add mod">
          <ac:chgData name="Raymond Mushabe" userId="c276d7e5-a885-4d83-b838-c8f2f4dd528c" providerId="ADAL" clId="{A1E209A6-1B46-442B-84F0-4A0032DA06CE}" dt="2025-05-05T12:18:10.118" v="6479" actId="164"/>
          <ac:grpSpMkLst>
            <pc:docMk/>
            <pc:sldMk cId="47639392" sldId="2147481111"/>
            <ac:grpSpMk id="19" creationId="{B4EB374C-380F-08A7-A27B-81C19675A327}"/>
          </ac:grpSpMkLst>
        </pc:grpChg>
        <pc:grpChg chg="add mod">
          <ac:chgData name="Raymond Mushabe" userId="c276d7e5-a885-4d83-b838-c8f2f4dd528c" providerId="ADAL" clId="{A1E209A6-1B46-442B-84F0-4A0032DA06CE}" dt="2025-05-05T12:18:16.543" v="6480" actId="164"/>
          <ac:grpSpMkLst>
            <pc:docMk/>
            <pc:sldMk cId="47639392" sldId="2147481111"/>
            <ac:grpSpMk id="21" creationId="{3A027DD8-76BE-BA6A-C61D-38371F2B316E}"/>
          </ac:grpSpMkLst>
        </pc:grpChg>
        <pc:picChg chg="mod">
          <ac:chgData name="Raymond Mushabe" userId="c276d7e5-a885-4d83-b838-c8f2f4dd528c" providerId="ADAL" clId="{A1E209A6-1B46-442B-84F0-4A0032DA06CE}" dt="2025-05-05T11:01:21.715" v="5460" actId="1037"/>
          <ac:picMkLst>
            <pc:docMk/>
            <pc:sldMk cId="47639392" sldId="2147481111"/>
            <ac:picMk id="3" creationId="{501513BF-FD58-A95C-5DD3-DF55851690C4}"/>
          </ac:picMkLst>
        </pc:picChg>
        <pc:picChg chg="add mod">
          <ac:chgData name="Raymond Mushabe" userId="c276d7e5-a885-4d83-b838-c8f2f4dd528c" providerId="ADAL" clId="{A1E209A6-1B46-442B-84F0-4A0032DA06CE}" dt="2025-05-05T12:18:10.118" v="6479" actId="164"/>
          <ac:picMkLst>
            <pc:docMk/>
            <pc:sldMk cId="47639392" sldId="2147481111"/>
            <ac:picMk id="4" creationId="{05024A7E-2333-908C-5E93-65F801BDA496}"/>
          </ac:picMkLst>
        </pc:picChg>
        <pc:picChg chg="mod">
          <ac:chgData name="Raymond Mushabe" userId="c276d7e5-a885-4d83-b838-c8f2f4dd528c" providerId="ADAL" clId="{A1E209A6-1B46-442B-84F0-4A0032DA06CE}" dt="2025-05-05T11:03:00.211" v="5571" actId="1076"/>
          <ac:picMkLst>
            <pc:docMk/>
            <pc:sldMk cId="47639392" sldId="2147481111"/>
            <ac:picMk id="5" creationId="{2E0EB3B7-62AF-F93A-3BEA-ED412325B0A7}"/>
          </ac:picMkLst>
        </pc:picChg>
        <pc:picChg chg="mod">
          <ac:chgData name="Raymond Mushabe" userId="c276d7e5-a885-4d83-b838-c8f2f4dd528c" providerId="ADAL" clId="{A1E209A6-1B46-442B-84F0-4A0032DA06CE}" dt="2025-05-05T11:00:40.330" v="5337" actId="1037"/>
          <ac:picMkLst>
            <pc:docMk/>
            <pc:sldMk cId="47639392" sldId="2147481111"/>
            <ac:picMk id="7" creationId="{E6F4914E-4B90-D3FD-4556-D4339CEC30AE}"/>
          </ac:picMkLst>
        </pc:picChg>
        <pc:picChg chg="add mod">
          <ac:chgData name="Raymond Mushabe" userId="c276d7e5-a885-4d83-b838-c8f2f4dd528c" providerId="ADAL" clId="{A1E209A6-1B46-442B-84F0-4A0032DA06CE}" dt="2025-05-05T12:18:16.543" v="6480" actId="164"/>
          <ac:picMkLst>
            <pc:docMk/>
            <pc:sldMk cId="47639392" sldId="2147481111"/>
            <ac:picMk id="10" creationId="{2BF83FBE-C177-2A0E-4BBC-970254B55BBD}"/>
          </ac:picMkLst>
        </pc:picChg>
        <pc:picChg chg="mod">
          <ac:chgData name="Raymond Mushabe" userId="c276d7e5-a885-4d83-b838-c8f2f4dd528c" providerId="ADAL" clId="{A1E209A6-1B46-442B-84F0-4A0032DA06CE}" dt="2025-05-05T13:46:45.543" v="6605" actId="1076"/>
          <ac:picMkLst>
            <pc:docMk/>
            <pc:sldMk cId="47639392" sldId="2147481111"/>
            <ac:picMk id="43" creationId="{B44FF84A-6A84-9226-F07E-0104988C1890}"/>
          </ac:picMkLst>
        </pc:picChg>
      </pc:sldChg>
      <pc:sldChg chg="addSp delSp modSp mod modAnim">
        <pc:chgData name="Raymond Mushabe" userId="c276d7e5-a885-4d83-b838-c8f2f4dd528c" providerId="ADAL" clId="{A1E209A6-1B46-442B-84F0-4A0032DA06CE}" dt="2025-05-06T10:05:10.090" v="8263" actId="20577"/>
        <pc:sldMkLst>
          <pc:docMk/>
          <pc:sldMk cId="1342117982" sldId="2147481112"/>
        </pc:sldMkLst>
        <pc:spChg chg="add mod">
          <ac:chgData name="Raymond Mushabe" userId="c276d7e5-a885-4d83-b838-c8f2f4dd528c" providerId="ADAL" clId="{A1E209A6-1B46-442B-84F0-4A0032DA06CE}" dt="2025-05-06T07:13:45.487" v="7515" actId="164"/>
          <ac:spMkLst>
            <pc:docMk/>
            <pc:sldMk cId="1342117982" sldId="2147481112"/>
            <ac:spMk id="2" creationId="{B4DE40A4-A924-5CE8-C86F-6FB9476AE580}"/>
          </ac:spMkLst>
        </pc:spChg>
        <pc:spChg chg="add mod">
          <ac:chgData name="Raymond Mushabe" userId="c276d7e5-a885-4d83-b838-c8f2f4dd528c" providerId="ADAL" clId="{A1E209A6-1B46-442B-84F0-4A0032DA06CE}" dt="2025-05-06T07:13:45.487" v="7515" actId="164"/>
          <ac:spMkLst>
            <pc:docMk/>
            <pc:sldMk cId="1342117982" sldId="2147481112"/>
            <ac:spMk id="3" creationId="{E8CE6A58-86A5-8F5C-04A4-22C7BBD114B9}"/>
          </ac:spMkLst>
        </pc:spChg>
        <pc:spChg chg="add mod">
          <ac:chgData name="Raymond Mushabe" userId="c276d7e5-a885-4d83-b838-c8f2f4dd528c" providerId="ADAL" clId="{A1E209A6-1B46-442B-84F0-4A0032DA06CE}" dt="2025-05-06T07:14:35.782" v="7520" actId="1037"/>
          <ac:spMkLst>
            <pc:docMk/>
            <pc:sldMk cId="1342117982" sldId="2147481112"/>
            <ac:spMk id="4" creationId="{34E598A3-E046-DF9E-FFBE-5E06A706C34D}"/>
          </ac:spMkLst>
        </pc:spChg>
        <pc:spChg chg="add mod topLvl">
          <ac:chgData name="Raymond Mushabe" userId="c276d7e5-a885-4d83-b838-c8f2f4dd528c" providerId="ADAL" clId="{A1E209A6-1B46-442B-84F0-4A0032DA06CE}" dt="2025-05-06T09:22:48.112" v="8067" actId="1038"/>
          <ac:spMkLst>
            <pc:docMk/>
            <pc:sldMk cId="1342117982" sldId="2147481112"/>
            <ac:spMk id="10" creationId="{F27F3815-683D-9C0C-268C-398F34F5F00C}"/>
          </ac:spMkLst>
        </pc:spChg>
        <pc:spChg chg="add mod">
          <ac:chgData name="Raymond Mushabe" userId="c276d7e5-a885-4d83-b838-c8f2f4dd528c" providerId="ADAL" clId="{A1E209A6-1B46-442B-84F0-4A0032DA06CE}" dt="2025-05-06T09:19:20.865" v="7947" actId="2711"/>
          <ac:spMkLst>
            <pc:docMk/>
            <pc:sldMk cId="1342117982" sldId="2147481112"/>
            <ac:spMk id="11" creationId="{F5EF7770-8890-31DF-4469-D700E052FB66}"/>
          </ac:spMkLst>
        </pc:spChg>
        <pc:spChg chg="mod">
          <ac:chgData name="Raymond Mushabe" userId="c276d7e5-a885-4d83-b838-c8f2f4dd528c" providerId="ADAL" clId="{A1E209A6-1B46-442B-84F0-4A0032DA06CE}" dt="2025-05-06T10:05:10.090" v="8263" actId="20577"/>
          <ac:spMkLst>
            <pc:docMk/>
            <pc:sldMk cId="1342117982" sldId="2147481112"/>
            <ac:spMk id="20" creationId="{2EB8BD1E-802D-7A92-5B4A-3FE849A4BB17}"/>
          </ac:spMkLst>
        </pc:spChg>
        <pc:spChg chg="mod">
          <ac:chgData name="Raymond Mushabe" userId="c276d7e5-a885-4d83-b838-c8f2f4dd528c" providerId="ADAL" clId="{A1E209A6-1B46-442B-84F0-4A0032DA06CE}" dt="2025-05-06T09:19:20.865" v="7947" actId="2711"/>
          <ac:spMkLst>
            <pc:docMk/>
            <pc:sldMk cId="1342117982" sldId="2147481112"/>
            <ac:spMk id="33" creationId="{050039F4-24E4-74B3-6FC3-50011392B2CB}"/>
          </ac:spMkLst>
        </pc:spChg>
        <pc:spChg chg="mod">
          <ac:chgData name="Raymond Mushabe" userId="c276d7e5-a885-4d83-b838-c8f2f4dd528c" providerId="ADAL" clId="{A1E209A6-1B46-442B-84F0-4A0032DA06CE}" dt="2025-05-06T09:19:20.865" v="7947" actId="2711"/>
          <ac:spMkLst>
            <pc:docMk/>
            <pc:sldMk cId="1342117982" sldId="2147481112"/>
            <ac:spMk id="44" creationId="{C19BFC48-513D-61E5-EA52-2DF3B4264564}"/>
          </ac:spMkLst>
        </pc:spChg>
        <pc:grpChg chg="add mod">
          <ac:chgData name="Raymond Mushabe" userId="c276d7e5-a885-4d83-b838-c8f2f4dd528c" providerId="ADAL" clId="{A1E209A6-1B46-442B-84F0-4A0032DA06CE}" dt="2025-05-06T09:19:20.865" v="7947" actId="2711"/>
          <ac:grpSpMkLst>
            <pc:docMk/>
            <pc:sldMk cId="1342117982" sldId="2147481112"/>
            <ac:grpSpMk id="6" creationId="{FEEF7401-78C5-0D77-259B-88E46C783CED}"/>
          </ac:grpSpMkLst>
        </pc:grpChg>
        <pc:picChg chg="mod">
          <ac:chgData name="Raymond Mushabe" userId="c276d7e5-a885-4d83-b838-c8f2f4dd528c" providerId="ADAL" clId="{A1E209A6-1B46-442B-84F0-4A0032DA06CE}" dt="2025-05-06T07:13:45.487" v="7515" actId="164"/>
          <ac:picMkLst>
            <pc:docMk/>
            <pc:sldMk cId="1342117982" sldId="2147481112"/>
            <ac:picMk id="5" creationId="{B2A28918-57DD-F284-3190-A61B3393B618}"/>
          </ac:picMkLst>
        </pc:picChg>
        <pc:picChg chg="mod">
          <ac:chgData name="Raymond Mushabe" userId="c276d7e5-a885-4d83-b838-c8f2f4dd528c" providerId="ADAL" clId="{A1E209A6-1B46-442B-84F0-4A0032DA06CE}" dt="2025-05-06T09:19:20.865" v="7947" actId="2711"/>
          <ac:picMkLst>
            <pc:docMk/>
            <pc:sldMk cId="1342117982" sldId="2147481112"/>
            <ac:picMk id="43" creationId="{39BB4219-584A-0F48-6B0F-8FACCC859867}"/>
          </ac:picMkLst>
        </pc:picChg>
      </pc:sldChg>
      <pc:sldChg chg="addSp modSp mod modAnim">
        <pc:chgData name="Raymond Mushabe" userId="c276d7e5-a885-4d83-b838-c8f2f4dd528c" providerId="ADAL" clId="{A1E209A6-1B46-442B-84F0-4A0032DA06CE}" dt="2025-05-06T08:42:40.313" v="7830"/>
        <pc:sldMkLst>
          <pc:docMk/>
          <pc:sldMk cId="3846824324" sldId="2147481113"/>
        </pc:sldMkLst>
        <pc:spChg chg="add mod">
          <ac:chgData name="Raymond Mushabe" userId="c276d7e5-a885-4d83-b838-c8f2f4dd528c" providerId="ADAL" clId="{A1E209A6-1B46-442B-84F0-4A0032DA06CE}" dt="2025-05-06T07:19:45.610" v="7526" actId="2711"/>
          <ac:spMkLst>
            <pc:docMk/>
            <pc:sldMk cId="3846824324" sldId="2147481113"/>
            <ac:spMk id="4" creationId="{FF6BE6C1-BD14-6CB0-88D4-65E57A0C31C8}"/>
          </ac:spMkLst>
        </pc:spChg>
        <pc:spChg chg="mod">
          <ac:chgData name="Raymond Mushabe" userId="c276d7e5-a885-4d83-b838-c8f2f4dd528c" providerId="ADAL" clId="{A1E209A6-1B46-442B-84F0-4A0032DA06CE}" dt="2025-05-06T07:20:06.531" v="7527" actId="2711"/>
          <ac:spMkLst>
            <pc:docMk/>
            <pc:sldMk cId="3846824324" sldId="2147481113"/>
            <ac:spMk id="20" creationId="{566C75BA-04EB-B470-70F7-73CBAEDF6298}"/>
          </ac:spMkLst>
        </pc:spChg>
        <pc:spChg chg="mod">
          <ac:chgData name="Raymond Mushabe" userId="c276d7e5-a885-4d83-b838-c8f2f4dd528c" providerId="ADAL" clId="{A1E209A6-1B46-442B-84F0-4A0032DA06CE}" dt="2025-05-06T07:19:45.610" v="7526" actId="2711"/>
          <ac:spMkLst>
            <pc:docMk/>
            <pc:sldMk cId="3846824324" sldId="2147481113"/>
            <ac:spMk id="33" creationId="{9B08CF5A-BF0D-9D9C-45D9-9563367F8FD9}"/>
          </ac:spMkLst>
        </pc:spChg>
        <pc:spChg chg="mod">
          <ac:chgData name="Raymond Mushabe" userId="c276d7e5-a885-4d83-b838-c8f2f4dd528c" providerId="ADAL" clId="{A1E209A6-1B46-442B-84F0-4A0032DA06CE}" dt="2025-05-06T07:19:45.610" v="7526" actId="2711"/>
          <ac:spMkLst>
            <pc:docMk/>
            <pc:sldMk cId="3846824324" sldId="2147481113"/>
            <ac:spMk id="44" creationId="{2BB2EB1E-5B20-0C52-DC52-501DD525436C}"/>
          </ac:spMkLst>
        </pc:spChg>
        <pc:picChg chg="mod">
          <ac:chgData name="Raymond Mushabe" userId="c276d7e5-a885-4d83-b838-c8f2f4dd528c" providerId="ADAL" clId="{A1E209A6-1B46-442B-84F0-4A0032DA06CE}" dt="2025-05-06T07:19:45.610" v="7526" actId="2711"/>
          <ac:picMkLst>
            <pc:docMk/>
            <pc:sldMk cId="3846824324" sldId="2147481113"/>
            <ac:picMk id="43" creationId="{A177E4A3-4AB7-6841-5364-22DF94783C7A}"/>
          </ac:picMkLst>
        </pc:picChg>
      </pc:sldChg>
      <pc:sldChg chg="addSp delSp modSp del mod">
        <pc:chgData name="Raymond Mushabe" userId="c276d7e5-a885-4d83-b838-c8f2f4dd528c" providerId="ADAL" clId="{A1E209A6-1B46-442B-84F0-4A0032DA06CE}" dt="2025-05-03T13:08:20.748" v="4603" actId="47"/>
        <pc:sldMkLst>
          <pc:docMk/>
          <pc:sldMk cId="1695179227" sldId="2147481115"/>
        </pc:sldMkLst>
      </pc:sldChg>
      <pc:sldChg chg="modSp add del mod setBg modShow">
        <pc:chgData name="Raymond Mushabe" userId="c276d7e5-a885-4d83-b838-c8f2f4dd528c" providerId="ADAL" clId="{A1E209A6-1B46-442B-84F0-4A0032DA06CE}" dt="2025-05-03T12:41:44.033" v="4561" actId="2696"/>
        <pc:sldMkLst>
          <pc:docMk/>
          <pc:sldMk cId="3102783503" sldId="2147481116"/>
        </pc:sldMkLst>
      </pc:sldChg>
      <pc:sldChg chg="addSp delSp modSp add mod setBg delAnim modAnim">
        <pc:chgData name="Raymond Mushabe" userId="c276d7e5-a885-4d83-b838-c8f2f4dd528c" providerId="ADAL" clId="{A1E209A6-1B46-442B-84F0-4A0032DA06CE}" dt="2025-05-06T07:06:32.023" v="7304"/>
        <pc:sldMkLst>
          <pc:docMk/>
          <pc:sldMk cId="3623619531" sldId="2147481117"/>
        </pc:sldMkLst>
        <pc:spChg chg="add mod">
          <ac:chgData name="Raymond Mushabe" userId="c276d7e5-a885-4d83-b838-c8f2f4dd528c" providerId="ADAL" clId="{A1E209A6-1B46-442B-84F0-4A0032DA06CE}" dt="2025-05-06T07:05:55.209" v="7299" actId="20577"/>
          <ac:spMkLst>
            <pc:docMk/>
            <pc:sldMk cId="3623619531" sldId="2147481117"/>
            <ac:spMk id="6" creationId="{C7AB8C25-E4E7-F8A4-2EF4-8DC50D4DCEC0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8" creationId="{B3443619-5250-0D05-3FB8-584B00884B01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9" creationId="{F78BF0D0-6ECE-5B13-B602-0740EF9E48FB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10" creationId="{A113F1F8-293C-598F-A57F-BEF3CBB5338D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11" creationId="{83DB8309-82F8-9C7A-8D6F-F4113ED3135F}"/>
          </ac:spMkLst>
        </pc:spChg>
        <pc:spChg chg="add mod">
          <ac:chgData name="Raymond Mushabe" userId="c276d7e5-a885-4d83-b838-c8f2f4dd528c" providerId="ADAL" clId="{A1E209A6-1B46-442B-84F0-4A0032DA06CE}" dt="2025-05-05T11:58:07.472" v="6248" actId="1038"/>
          <ac:spMkLst>
            <pc:docMk/>
            <pc:sldMk cId="3623619531" sldId="2147481117"/>
            <ac:spMk id="14" creationId="{7691900F-6F2B-A1E6-0E4D-1500259E6AC0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33" creationId="{0FA2449A-BA0A-608C-FBC2-6907082876D6}"/>
          </ac:spMkLst>
        </pc:spChg>
        <pc:spChg chg="mod">
          <ac:chgData name="Raymond Mushabe" userId="c276d7e5-a885-4d83-b838-c8f2f4dd528c" providerId="ADAL" clId="{A1E209A6-1B46-442B-84F0-4A0032DA06CE}" dt="2025-05-03T12:10:22.663" v="3808" actId="2711"/>
          <ac:spMkLst>
            <pc:docMk/>
            <pc:sldMk cId="3623619531" sldId="2147481117"/>
            <ac:spMk id="44" creationId="{D153113E-47B1-EF87-5EB1-7E8CC095A603}"/>
          </ac:spMkLst>
        </pc:spChg>
        <pc:grpChg chg="add mod">
          <ac:chgData name="Raymond Mushabe" userId="c276d7e5-a885-4d83-b838-c8f2f4dd528c" providerId="ADAL" clId="{A1E209A6-1B46-442B-84F0-4A0032DA06CE}" dt="2025-05-06T07:05:22.603" v="7265" actId="1037"/>
          <ac:grpSpMkLst>
            <pc:docMk/>
            <pc:sldMk cId="3623619531" sldId="2147481117"/>
            <ac:grpSpMk id="7" creationId="{4FDD8741-CA40-E209-FD15-F34C86685048}"/>
          </ac:grpSpMkLst>
        </pc:grpChg>
        <pc:picChg chg="add mod">
          <ac:chgData name="Raymond Mushabe" userId="c276d7e5-a885-4d83-b838-c8f2f4dd528c" providerId="ADAL" clId="{A1E209A6-1B46-442B-84F0-4A0032DA06CE}" dt="2025-05-06T07:05:22.603" v="7265" actId="1037"/>
          <ac:picMkLst>
            <pc:docMk/>
            <pc:sldMk cId="3623619531" sldId="2147481117"/>
            <ac:picMk id="2" creationId="{202EEF0B-03AF-D26D-70CC-B0A56B7CE84B}"/>
          </ac:picMkLst>
        </pc:picChg>
        <pc:picChg chg="add mod">
          <ac:chgData name="Raymond Mushabe" userId="c276d7e5-a885-4d83-b838-c8f2f4dd528c" providerId="ADAL" clId="{A1E209A6-1B46-442B-84F0-4A0032DA06CE}" dt="2025-05-06T07:04:51.814" v="7243" actId="1037"/>
          <ac:picMkLst>
            <pc:docMk/>
            <pc:sldMk cId="3623619531" sldId="2147481117"/>
            <ac:picMk id="4" creationId="{C4381F58-5685-8023-5426-A45185AB32B4}"/>
          </ac:picMkLst>
        </pc:picChg>
        <pc:picChg chg="add mod">
          <ac:chgData name="Raymond Mushabe" userId="c276d7e5-a885-4d83-b838-c8f2f4dd528c" providerId="ADAL" clId="{A1E209A6-1B46-442B-84F0-4A0032DA06CE}" dt="2025-05-06T07:05:22.603" v="7265" actId="1037"/>
          <ac:picMkLst>
            <pc:docMk/>
            <pc:sldMk cId="3623619531" sldId="2147481117"/>
            <ac:picMk id="5" creationId="{F14BA97F-A084-39F4-5690-D9478A7816B8}"/>
          </ac:picMkLst>
        </pc:picChg>
        <pc:picChg chg="add mod">
          <ac:chgData name="Raymond Mushabe" userId="c276d7e5-a885-4d83-b838-c8f2f4dd528c" providerId="ADAL" clId="{A1E209A6-1B46-442B-84F0-4A0032DA06CE}" dt="2025-05-06T07:04:51.814" v="7243" actId="1037"/>
          <ac:picMkLst>
            <pc:docMk/>
            <pc:sldMk cId="3623619531" sldId="2147481117"/>
            <ac:picMk id="13" creationId="{B1AB9BF8-68B5-55E9-E5BD-E5791BD618A6}"/>
          </ac:picMkLst>
        </pc:picChg>
        <pc:picChg chg="mod">
          <ac:chgData name="Raymond Mushabe" userId="c276d7e5-a885-4d83-b838-c8f2f4dd528c" providerId="ADAL" clId="{A1E209A6-1B46-442B-84F0-4A0032DA06CE}" dt="2025-05-05T13:46:32.285" v="6603" actId="1076"/>
          <ac:picMkLst>
            <pc:docMk/>
            <pc:sldMk cId="3623619531" sldId="2147481117"/>
            <ac:picMk id="43" creationId="{8F5F2E9A-1FA9-326D-8556-72DB15B2E092}"/>
          </ac:picMkLst>
        </pc:picChg>
      </pc:sldChg>
      <pc:sldChg chg="addSp modSp add mod setBg modAnim">
        <pc:chgData name="Raymond Mushabe" userId="c276d7e5-a885-4d83-b838-c8f2f4dd528c" providerId="ADAL" clId="{A1E209A6-1B46-442B-84F0-4A0032DA06CE}" dt="2025-05-06T09:52:59.070" v="8261"/>
        <pc:sldMkLst>
          <pc:docMk/>
          <pc:sldMk cId="595060298" sldId="2147481118"/>
        </pc:sldMkLst>
        <pc:spChg chg="add mod">
          <ac:chgData name="Raymond Mushabe" userId="c276d7e5-a885-4d83-b838-c8f2f4dd528c" providerId="ADAL" clId="{A1E209A6-1B46-442B-84F0-4A0032DA06CE}" dt="2025-05-06T09:52:46.056" v="8256" actId="20577"/>
          <ac:spMkLst>
            <pc:docMk/>
            <pc:sldMk cId="595060298" sldId="2147481118"/>
            <ac:spMk id="4" creationId="{A01BF1ED-F8D3-B935-47EC-3335501538C5}"/>
          </ac:spMkLst>
        </pc:spChg>
        <pc:spChg chg="add mod">
          <ac:chgData name="Raymond Mushabe" userId="c276d7e5-a885-4d83-b838-c8f2f4dd528c" providerId="ADAL" clId="{A1E209A6-1B46-442B-84F0-4A0032DA06CE}" dt="2025-05-05T12:00:31.030" v="6307" actId="164"/>
          <ac:spMkLst>
            <pc:docMk/>
            <pc:sldMk cId="595060298" sldId="2147481118"/>
            <ac:spMk id="6" creationId="{AE0CA075-8ABD-D1CD-78F8-B22B0B1760AE}"/>
          </ac:spMkLst>
        </pc:spChg>
        <pc:spChg chg="add mod">
          <ac:chgData name="Raymond Mushabe" userId="c276d7e5-a885-4d83-b838-c8f2f4dd528c" providerId="ADAL" clId="{A1E209A6-1B46-442B-84F0-4A0032DA06CE}" dt="2025-05-05T12:00:31.030" v="6307" actId="164"/>
          <ac:spMkLst>
            <pc:docMk/>
            <pc:sldMk cId="595060298" sldId="2147481118"/>
            <ac:spMk id="7" creationId="{61F7073D-4AA3-F723-53BA-22C9C1586B94}"/>
          </ac:spMkLst>
        </pc:spChg>
        <pc:spChg chg="add mod">
          <ac:chgData name="Raymond Mushabe" userId="c276d7e5-a885-4d83-b838-c8f2f4dd528c" providerId="ADAL" clId="{A1E209A6-1B46-442B-84F0-4A0032DA06CE}" dt="2025-05-05T11:27:55.730" v="6035"/>
          <ac:spMkLst>
            <pc:docMk/>
            <pc:sldMk cId="595060298" sldId="2147481118"/>
            <ac:spMk id="8" creationId="{4C517E29-1F20-DE36-821B-B120FE087BC4}"/>
          </ac:spMkLst>
        </pc:spChg>
        <pc:spChg chg="mod">
          <ac:chgData name="Raymond Mushabe" userId="c276d7e5-a885-4d83-b838-c8f2f4dd528c" providerId="ADAL" clId="{A1E209A6-1B46-442B-84F0-4A0032DA06CE}" dt="2025-05-05T11:59:59.221" v="6305" actId="20577"/>
          <ac:spMkLst>
            <pc:docMk/>
            <pc:sldMk cId="595060298" sldId="2147481118"/>
            <ac:spMk id="33" creationId="{A624E711-AD3F-2A50-B549-F607E105A2F3}"/>
          </ac:spMkLst>
        </pc:spChg>
        <pc:spChg chg="mod">
          <ac:chgData name="Raymond Mushabe" userId="c276d7e5-a885-4d83-b838-c8f2f4dd528c" providerId="ADAL" clId="{A1E209A6-1B46-442B-84F0-4A0032DA06CE}" dt="2025-05-03T12:10:31.044" v="3809" actId="2711"/>
          <ac:spMkLst>
            <pc:docMk/>
            <pc:sldMk cId="595060298" sldId="2147481118"/>
            <ac:spMk id="44" creationId="{81B0E0E7-2D27-AFA7-ECB0-4700805ED168}"/>
          </ac:spMkLst>
        </pc:spChg>
        <pc:grpChg chg="add mod">
          <ac:chgData name="Raymond Mushabe" userId="c276d7e5-a885-4d83-b838-c8f2f4dd528c" providerId="ADAL" clId="{A1E209A6-1B46-442B-84F0-4A0032DA06CE}" dt="2025-05-05T12:00:31.030" v="6307" actId="164"/>
          <ac:grpSpMkLst>
            <pc:docMk/>
            <pc:sldMk cId="595060298" sldId="2147481118"/>
            <ac:grpSpMk id="9" creationId="{ED148442-3AF0-8A41-BE11-730930FB0127}"/>
          </ac:grpSpMkLst>
        </pc:grpChg>
        <pc:picChg chg="add mod">
          <ac:chgData name="Raymond Mushabe" userId="c276d7e5-a885-4d83-b838-c8f2f4dd528c" providerId="ADAL" clId="{A1E209A6-1B46-442B-84F0-4A0032DA06CE}" dt="2025-05-05T12:00:31.030" v="6307" actId="164"/>
          <ac:picMkLst>
            <pc:docMk/>
            <pc:sldMk cId="595060298" sldId="2147481118"/>
            <ac:picMk id="3" creationId="{D587CB04-9E4C-6814-DAE7-DFA1244ED809}"/>
          </ac:picMkLst>
        </pc:picChg>
        <pc:picChg chg="mod">
          <ac:chgData name="Raymond Mushabe" userId="c276d7e5-a885-4d83-b838-c8f2f4dd528c" providerId="ADAL" clId="{A1E209A6-1B46-442B-84F0-4A0032DA06CE}" dt="2025-05-05T13:46:38.235" v="6604" actId="1076"/>
          <ac:picMkLst>
            <pc:docMk/>
            <pc:sldMk cId="595060298" sldId="2147481118"/>
            <ac:picMk id="43" creationId="{8CD458B9-8D83-7F3D-F01B-C505A8BC954A}"/>
          </ac:picMkLst>
        </pc:picChg>
      </pc:sldChg>
      <pc:sldChg chg="addSp delSp modSp add mod setBg modAnim">
        <pc:chgData name="Raymond Mushabe" userId="c276d7e5-a885-4d83-b838-c8f2f4dd528c" providerId="ADAL" clId="{A1E209A6-1B46-442B-84F0-4A0032DA06CE}" dt="2025-05-06T07:21:31.212" v="7531" actId="2711"/>
        <pc:sldMkLst>
          <pc:docMk/>
          <pc:sldMk cId="3386941329" sldId="2147481119"/>
        </pc:sldMkLst>
        <pc:spChg chg="add mod">
          <ac:chgData name="Raymond Mushabe" userId="c276d7e5-a885-4d83-b838-c8f2f4dd528c" providerId="ADAL" clId="{A1E209A6-1B46-442B-84F0-4A0032DA06CE}" dt="2025-05-06T07:21:05.739" v="7529" actId="2711"/>
          <ac:spMkLst>
            <pc:docMk/>
            <pc:sldMk cId="3386941329" sldId="2147481119"/>
            <ac:spMk id="9" creationId="{C1D1CFB0-224E-9723-5A39-DA2CEF3F3A2C}"/>
          </ac:spMkLst>
        </pc:spChg>
        <pc:spChg chg="mod">
          <ac:chgData name="Raymond Mushabe" userId="c276d7e5-a885-4d83-b838-c8f2f4dd528c" providerId="ADAL" clId="{A1E209A6-1B46-442B-84F0-4A0032DA06CE}" dt="2025-05-06T07:21:05.739" v="7529" actId="2711"/>
          <ac:spMkLst>
            <pc:docMk/>
            <pc:sldMk cId="3386941329" sldId="2147481119"/>
            <ac:spMk id="20" creationId="{2DE4043C-E82A-2BDE-D2C0-FA30C2435877}"/>
          </ac:spMkLst>
        </pc:spChg>
        <pc:spChg chg="mod">
          <ac:chgData name="Raymond Mushabe" userId="c276d7e5-a885-4d83-b838-c8f2f4dd528c" providerId="ADAL" clId="{A1E209A6-1B46-442B-84F0-4A0032DA06CE}" dt="2025-05-06T07:21:05.739" v="7529" actId="2711"/>
          <ac:spMkLst>
            <pc:docMk/>
            <pc:sldMk cId="3386941329" sldId="2147481119"/>
            <ac:spMk id="33" creationId="{766590AD-6B01-0F39-30AC-C8FCA5B1996D}"/>
          </ac:spMkLst>
        </pc:spChg>
        <pc:spChg chg="mod">
          <ac:chgData name="Raymond Mushabe" userId="c276d7e5-a885-4d83-b838-c8f2f4dd528c" providerId="ADAL" clId="{A1E209A6-1B46-442B-84F0-4A0032DA06CE}" dt="2025-05-06T07:21:05.739" v="7529" actId="2711"/>
          <ac:spMkLst>
            <pc:docMk/>
            <pc:sldMk cId="3386941329" sldId="2147481119"/>
            <ac:spMk id="44" creationId="{6257A3F7-DE21-1BAE-D4A7-DA6593482DCB}"/>
          </ac:spMkLst>
        </pc:spChg>
        <pc:graphicFrameChg chg="modGraphic">
          <ac:chgData name="Raymond Mushabe" userId="c276d7e5-a885-4d83-b838-c8f2f4dd528c" providerId="ADAL" clId="{A1E209A6-1B46-442B-84F0-4A0032DA06CE}" dt="2025-05-06T07:21:31.212" v="7531" actId="2711"/>
          <ac:graphicFrameMkLst>
            <pc:docMk/>
            <pc:sldMk cId="3386941329" sldId="2147481119"/>
            <ac:graphicFrameMk id="6" creationId="{95F451E6-C4BA-3B5C-2CD5-FA1F80994992}"/>
          </ac:graphicFrameMkLst>
        </pc:graphicFrameChg>
        <pc:graphicFrameChg chg="modGraphic">
          <ac:chgData name="Raymond Mushabe" userId="c276d7e5-a885-4d83-b838-c8f2f4dd528c" providerId="ADAL" clId="{A1E209A6-1B46-442B-84F0-4A0032DA06CE}" dt="2025-05-06T07:21:21.859" v="7530" actId="2711"/>
          <ac:graphicFrameMkLst>
            <pc:docMk/>
            <pc:sldMk cId="3386941329" sldId="2147481119"/>
            <ac:graphicFrameMk id="8" creationId="{F604B161-E163-46B7-9FA7-408F2201BFE7}"/>
          </ac:graphicFrameMkLst>
        </pc:graphicFrameChg>
        <pc:picChg chg="mod">
          <ac:chgData name="Raymond Mushabe" userId="c276d7e5-a885-4d83-b838-c8f2f4dd528c" providerId="ADAL" clId="{A1E209A6-1B46-442B-84F0-4A0032DA06CE}" dt="2025-05-05T10:58:39.578" v="5275" actId="14100"/>
          <ac:picMkLst>
            <pc:docMk/>
            <pc:sldMk cId="3386941329" sldId="2147481119"/>
            <ac:picMk id="5" creationId="{7B0445F0-B6AB-8C07-AA59-ED0E77BF5275}"/>
          </ac:picMkLst>
        </pc:picChg>
        <pc:picChg chg="mod ord">
          <ac:chgData name="Raymond Mushabe" userId="c276d7e5-a885-4d83-b838-c8f2f4dd528c" providerId="ADAL" clId="{A1E209A6-1B46-442B-84F0-4A0032DA06CE}" dt="2025-05-05T11:28:15.889" v="6038" actId="1076"/>
          <ac:picMkLst>
            <pc:docMk/>
            <pc:sldMk cId="3386941329" sldId="2147481119"/>
            <ac:picMk id="43" creationId="{8483E451-0F8F-7DC7-E385-C33EA2C7FD30}"/>
          </ac:picMkLst>
        </pc:picChg>
      </pc:sldChg>
      <pc:sldChg chg="add del setBg">
        <pc:chgData name="Raymond Mushabe" userId="c276d7e5-a885-4d83-b838-c8f2f4dd528c" providerId="ADAL" clId="{A1E209A6-1B46-442B-84F0-4A0032DA06CE}" dt="2025-05-03T13:08:16.059" v="4602" actId="47"/>
        <pc:sldMkLst>
          <pc:docMk/>
          <pc:sldMk cId="50609920" sldId="2147481120"/>
        </pc:sldMkLst>
      </pc:sldChg>
    </pc:docChg>
  </pc:docChgLst>
  <pc:docChgLst>
    <pc:chgData name="Raymond Mushabe" userId="c276d7e5-a885-4d83-b838-c8f2f4dd528c" providerId="ADAL" clId="{20452E0E-B185-41CC-8158-C794881CB197}"/>
    <pc:docChg chg="undo custSel addSld delSld modSld modSection">
      <pc:chgData name="Raymond Mushabe" userId="c276d7e5-a885-4d83-b838-c8f2f4dd528c" providerId="ADAL" clId="{20452E0E-B185-41CC-8158-C794881CB197}" dt="2025-05-19T16:07:00.211" v="1511" actId="1037"/>
      <pc:docMkLst>
        <pc:docMk/>
      </pc:docMkLst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2152705214" sldId="579"/>
        </pc:sldMkLst>
      </pc:sldChg>
      <pc:sldChg chg="modSp mod modTransition">
        <pc:chgData name="Raymond Mushabe" userId="c276d7e5-a885-4d83-b838-c8f2f4dd528c" providerId="ADAL" clId="{20452E0E-B185-41CC-8158-C794881CB197}" dt="2025-05-19T14:57:15.031" v="1364"/>
        <pc:sldMkLst>
          <pc:docMk/>
          <pc:sldMk cId="2396895297" sldId="658"/>
        </pc:sldMkLst>
        <pc:spChg chg="mod">
          <ac:chgData name="Raymond Mushabe" userId="c276d7e5-a885-4d83-b838-c8f2f4dd528c" providerId="ADAL" clId="{20452E0E-B185-41CC-8158-C794881CB197}" dt="2025-05-15T10:09:01.651" v="23" actId="20577"/>
          <ac:spMkLst>
            <pc:docMk/>
            <pc:sldMk cId="2396895297" sldId="658"/>
            <ac:spMk id="2" creationId="{17556CF8-4CDD-CA3F-7AB0-ED47CE402CF7}"/>
          </ac:spMkLst>
        </pc:spChg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636636350" sldId="2519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2967858668" sldId="2147481107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3582409608" sldId="2147481108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2360487479" sldId="2147481109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47639392" sldId="2147481111"/>
        </pc:sldMkLst>
      </pc:sldChg>
      <pc:sldChg chg="addSp delSp modSp mod modTransition delAnim modAnim">
        <pc:chgData name="Raymond Mushabe" userId="c276d7e5-a885-4d83-b838-c8f2f4dd528c" providerId="ADAL" clId="{20452E0E-B185-41CC-8158-C794881CB197}" dt="2025-05-19T14:57:15.031" v="1364"/>
        <pc:sldMkLst>
          <pc:docMk/>
          <pc:sldMk cId="1342117982" sldId="2147481112"/>
        </pc:sldMkLst>
        <pc:spChg chg="mod">
          <ac:chgData name="Raymond Mushabe" userId="c276d7e5-a885-4d83-b838-c8f2f4dd528c" providerId="ADAL" clId="{20452E0E-B185-41CC-8158-C794881CB197}" dt="2025-05-19T14:55:00.791" v="1357" actId="164"/>
          <ac:spMkLst>
            <pc:docMk/>
            <pc:sldMk cId="1342117982" sldId="2147481112"/>
            <ac:spMk id="10" creationId="{F27F3815-683D-9C0C-268C-398F34F5F00C}"/>
          </ac:spMkLst>
        </pc:spChg>
        <pc:spChg chg="add mod">
          <ac:chgData name="Raymond Mushabe" userId="c276d7e5-a885-4d83-b838-c8f2f4dd528c" providerId="ADAL" clId="{20452E0E-B185-41CC-8158-C794881CB197}" dt="2025-05-19T14:55:00.791" v="1357" actId="164"/>
          <ac:spMkLst>
            <pc:docMk/>
            <pc:sldMk cId="1342117982" sldId="2147481112"/>
            <ac:spMk id="19" creationId="{E8FC3E78-EB4F-7A0A-555A-8E986BB53296}"/>
          </ac:spMkLst>
        </pc:spChg>
        <pc:spChg chg="add mod">
          <ac:chgData name="Raymond Mushabe" userId="c276d7e5-a885-4d83-b838-c8f2f4dd528c" providerId="ADAL" clId="{20452E0E-B185-41CC-8158-C794881CB197}" dt="2025-05-19T14:55:00.791" v="1357" actId="164"/>
          <ac:spMkLst>
            <pc:docMk/>
            <pc:sldMk cId="1342117982" sldId="2147481112"/>
            <ac:spMk id="21" creationId="{B7A00746-C166-CB92-DD0A-96AB1A2FE923}"/>
          </ac:spMkLst>
        </pc:spChg>
        <pc:spChg chg="mod">
          <ac:chgData name="Raymond Mushabe" userId="c276d7e5-a885-4d83-b838-c8f2f4dd528c" providerId="ADAL" clId="{20452E0E-B185-41CC-8158-C794881CB197}" dt="2025-05-19T14:31:21.530" v="573" actId="20577"/>
          <ac:spMkLst>
            <pc:docMk/>
            <pc:sldMk cId="1342117982" sldId="2147481112"/>
            <ac:spMk id="33" creationId="{050039F4-24E4-74B3-6FC3-50011392B2CB}"/>
          </ac:spMkLst>
        </pc:spChg>
        <pc:grpChg chg="del">
          <ac:chgData name="Raymond Mushabe" userId="c276d7e5-a885-4d83-b838-c8f2f4dd528c" providerId="ADAL" clId="{20452E0E-B185-41CC-8158-C794881CB197}" dt="2025-05-19T14:20:52.905" v="468" actId="21"/>
          <ac:grpSpMkLst>
            <pc:docMk/>
            <pc:sldMk cId="1342117982" sldId="2147481112"/>
            <ac:grpSpMk id="22" creationId="{254B6736-6489-5CCF-649C-3A026F022989}"/>
          </ac:grpSpMkLst>
        </pc:grpChg>
        <pc:grpChg chg="add mod">
          <ac:chgData name="Raymond Mushabe" userId="c276d7e5-a885-4d83-b838-c8f2f4dd528c" providerId="ADAL" clId="{20452E0E-B185-41CC-8158-C794881CB197}" dt="2025-05-19T14:55:00.791" v="1357" actId="164"/>
          <ac:grpSpMkLst>
            <pc:docMk/>
            <pc:sldMk cId="1342117982" sldId="2147481112"/>
            <ac:grpSpMk id="23" creationId="{441F0369-FAF6-0316-BC3F-4211C371FEA1}"/>
          </ac:grpSpMkLst>
        </pc:grpChg>
        <pc:picChg chg="add del mod">
          <ac:chgData name="Raymond Mushabe" userId="c276d7e5-a885-4d83-b838-c8f2f4dd528c" providerId="ADAL" clId="{20452E0E-B185-41CC-8158-C794881CB197}" dt="2025-05-19T14:27:08.386" v="496" actId="478"/>
          <ac:picMkLst>
            <pc:docMk/>
            <pc:sldMk cId="1342117982" sldId="2147481112"/>
            <ac:picMk id="12" creationId="{303EED23-DDF1-B7F9-7B60-72EE93772C6F}"/>
          </ac:picMkLst>
        </pc:picChg>
        <pc:picChg chg="add mod">
          <ac:chgData name="Raymond Mushabe" userId="c276d7e5-a885-4d83-b838-c8f2f4dd528c" providerId="ADAL" clId="{20452E0E-B185-41CC-8158-C794881CB197}" dt="2025-05-19T14:55:00.791" v="1357" actId="164"/>
          <ac:picMkLst>
            <pc:docMk/>
            <pc:sldMk cId="1342117982" sldId="2147481112"/>
            <ac:picMk id="14" creationId="{FF89A258-4C9A-6962-1955-EE7ED696C18B}"/>
          </ac:picMkLst>
        </pc:picChg>
        <pc:picChg chg="add mod">
          <ac:chgData name="Raymond Mushabe" userId="c276d7e5-a885-4d83-b838-c8f2f4dd528c" providerId="ADAL" clId="{20452E0E-B185-41CC-8158-C794881CB197}" dt="2025-05-19T14:55:00.791" v="1357" actId="164"/>
          <ac:picMkLst>
            <pc:docMk/>
            <pc:sldMk cId="1342117982" sldId="2147481112"/>
            <ac:picMk id="16" creationId="{7CCE3469-5DC0-F802-C25C-16D02F135CFC}"/>
          </ac:picMkLst>
        </pc:picChg>
        <pc:picChg chg="add mod">
          <ac:chgData name="Raymond Mushabe" userId="c276d7e5-a885-4d83-b838-c8f2f4dd528c" providerId="ADAL" clId="{20452E0E-B185-41CC-8158-C794881CB197}" dt="2025-05-19T14:55:00.791" v="1357" actId="164"/>
          <ac:picMkLst>
            <pc:docMk/>
            <pc:sldMk cId="1342117982" sldId="2147481112"/>
            <ac:picMk id="17" creationId="{DBB16AA1-4CBC-2975-C612-01D2C27B322C}"/>
          </ac:picMkLst>
        </pc:picChg>
      </pc:sldChg>
      <pc:sldChg chg="modSp modTransition modAnim">
        <pc:chgData name="Raymond Mushabe" userId="c276d7e5-a885-4d83-b838-c8f2f4dd528c" providerId="ADAL" clId="{20452E0E-B185-41CC-8158-C794881CB197}" dt="2025-05-19T14:57:15.031" v="1364"/>
        <pc:sldMkLst>
          <pc:docMk/>
          <pc:sldMk cId="3846824324" sldId="2147481113"/>
        </pc:sldMkLst>
        <pc:spChg chg="mod">
          <ac:chgData name="Raymond Mushabe" userId="c276d7e5-a885-4d83-b838-c8f2f4dd528c" providerId="ADAL" clId="{20452E0E-B185-41CC-8158-C794881CB197}" dt="2025-05-19T14:53:07.400" v="1355" actId="20577"/>
          <ac:spMkLst>
            <pc:docMk/>
            <pc:sldMk cId="3846824324" sldId="2147481113"/>
            <ac:spMk id="20" creationId="{566C75BA-04EB-B470-70F7-73CBAEDF6298}"/>
          </ac:spMkLst>
        </pc:spChg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3623619531" sldId="2147481117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595060298" sldId="2147481118"/>
        </pc:sldMkLst>
      </pc:sldChg>
      <pc:sldChg chg="modTransition">
        <pc:chgData name="Raymond Mushabe" userId="c276d7e5-a885-4d83-b838-c8f2f4dd528c" providerId="ADAL" clId="{20452E0E-B185-41CC-8158-C794881CB197}" dt="2025-05-19T14:57:15.031" v="1364"/>
        <pc:sldMkLst>
          <pc:docMk/>
          <pc:sldMk cId="3386941329" sldId="2147481119"/>
        </pc:sldMkLst>
      </pc:sldChg>
      <pc:sldChg chg="addSp delSp modSp add mod modTransition setBg delAnim modAnim">
        <pc:chgData name="Raymond Mushabe" userId="c276d7e5-a885-4d83-b838-c8f2f4dd528c" providerId="ADAL" clId="{20452E0E-B185-41CC-8158-C794881CB197}" dt="2025-05-19T16:07:00.211" v="1511" actId="1037"/>
        <pc:sldMkLst>
          <pc:docMk/>
          <pc:sldMk cId="1298360242" sldId="2147481120"/>
        </pc:sldMkLst>
        <pc:spChg chg="add del mod">
          <ac:chgData name="Raymond Mushabe" userId="c276d7e5-a885-4d83-b838-c8f2f4dd528c" providerId="ADAL" clId="{20452E0E-B185-41CC-8158-C794881CB197}" dt="2025-05-19T14:47:26.020" v="1095" actId="478"/>
          <ac:spMkLst>
            <pc:docMk/>
            <pc:sldMk cId="1298360242" sldId="2147481120"/>
            <ac:spMk id="2" creationId="{F703E3BB-8A32-7D91-1349-89F309716A22}"/>
          </ac:spMkLst>
        </pc:spChg>
        <pc:spChg chg="mod">
          <ac:chgData name="Raymond Mushabe" userId="c276d7e5-a885-4d83-b838-c8f2f4dd528c" providerId="ADAL" clId="{20452E0E-B185-41CC-8158-C794881CB197}" dt="2025-05-19T16:07:00.211" v="1511" actId="1037"/>
          <ac:spMkLst>
            <pc:docMk/>
            <pc:sldMk cId="1298360242" sldId="2147481120"/>
            <ac:spMk id="20" creationId="{C93F858C-D6D5-6C6E-F034-09F4A916AEBF}"/>
          </ac:spMkLst>
        </pc:spChg>
        <pc:spChg chg="add del mod">
          <ac:chgData name="Raymond Mushabe" userId="c276d7e5-a885-4d83-b838-c8f2f4dd528c" providerId="ADAL" clId="{20452E0E-B185-41CC-8158-C794881CB197}" dt="2025-05-19T14:50:33.800" v="1173" actId="478"/>
          <ac:spMkLst>
            <pc:docMk/>
            <pc:sldMk cId="1298360242" sldId="2147481120"/>
            <ac:spMk id="24" creationId="{5617C76D-366D-512F-BDFA-3713F1A9E661}"/>
          </ac:spMkLst>
        </pc:spChg>
        <pc:spChg chg="add mod">
          <ac:chgData name="Raymond Mushabe" userId="c276d7e5-a885-4d83-b838-c8f2f4dd528c" providerId="ADAL" clId="{20452E0E-B185-41CC-8158-C794881CB197}" dt="2025-05-19T14:50:56.476" v="1175" actId="164"/>
          <ac:spMkLst>
            <pc:docMk/>
            <pc:sldMk cId="1298360242" sldId="2147481120"/>
            <ac:spMk id="25" creationId="{E9305275-E849-48A3-F070-ACC188767DF9}"/>
          </ac:spMkLst>
        </pc:spChg>
        <pc:spChg chg="add mod">
          <ac:chgData name="Raymond Mushabe" userId="c276d7e5-a885-4d83-b838-c8f2f4dd528c" providerId="ADAL" clId="{20452E0E-B185-41CC-8158-C794881CB197}" dt="2025-05-19T14:51:26.912" v="1179" actId="1036"/>
          <ac:spMkLst>
            <pc:docMk/>
            <pc:sldMk cId="1298360242" sldId="2147481120"/>
            <ac:spMk id="26" creationId="{3A8FACF6-352F-5112-7606-7EBF1094D3A7}"/>
          </ac:spMkLst>
        </pc:spChg>
        <pc:spChg chg="mod">
          <ac:chgData name="Raymond Mushabe" userId="c276d7e5-a885-4d83-b838-c8f2f4dd528c" providerId="ADAL" clId="{20452E0E-B185-41CC-8158-C794881CB197}" dt="2025-05-15T10:11:04.822" v="37" actId="20577"/>
          <ac:spMkLst>
            <pc:docMk/>
            <pc:sldMk cId="1298360242" sldId="2147481120"/>
            <ac:spMk id="33" creationId="{5D91306F-8F4D-7B72-A677-A8717C4924C2}"/>
          </ac:spMkLst>
        </pc:spChg>
        <pc:grpChg chg="add mod">
          <ac:chgData name="Raymond Mushabe" userId="c276d7e5-a885-4d83-b838-c8f2f4dd528c" providerId="ADAL" clId="{20452E0E-B185-41CC-8158-C794881CB197}" dt="2025-05-19T14:50:48.081" v="1174" actId="164"/>
          <ac:grpSpMkLst>
            <pc:docMk/>
            <pc:sldMk cId="1298360242" sldId="2147481120"/>
            <ac:grpSpMk id="27" creationId="{70EBDF18-62E5-CCA0-50D0-F270A6472C53}"/>
          </ac:grpSpMkLst>
        </pc:grpChg>
        <pc:grpChg chg="add mod">
          <ac:chgData name="Raymond Mushabe" userId="c276d7e5-a885-4d83-b838-c8f2f4dd528c" providerId="ADAL" clId="{20452E0E-B185-41CC-8158-C794881CB197}" dt="2025-05-19T14:50:56.476" v="1175" actId="164"/>
          <ac:grpSpMkLst>
            <pc:docMk/>
            <pc:sldMk cId="1298360242" sldId="2147481120"/>
            <ac:grpSpMk id="28" creationId="{B7893872-2501-CF9D-0D00-8010D733BEC7}"/>
          </ac:grpSpMkLst>
        </pc:grpChg>
        <pc:picChg chg="add mod">
          <ac:chgData name="Raymond Mushabe" userId="c276d7e5-a885-4d83-b838-c8f2f4dd528c" providerId="ADAL" clId="{20452E0E-B185-41CC-8158-C794881CB197}" dt="2025-05-19T14:24:16.992" v="484" actId="1076"/>
          <ac:picMkLst>
            <pc:docMk/>
            <pc:sldMk cId="1298360242" sldId="2147481120"/>
            <ac:picMk id="4" creationId="{8F33B819-D6D7-2E95-E6E5-DB1993F180D6}"/>
          </ac:picMkLst>
        </pc:picChg>
        <pc:picChg chg="add mod">
          <ac:chgData name="Raymond Mushabe" userId="c276d7e5-a885-4d83-b838-c8f2f4dd528c" providerId="ADAL" clId="{20452E0E-B185-41CC-8158-C794881CB197}" dt="2025-05-19T16:06:50.591" v="1498" actId="1037"/>
          <ac:picMkLst>
            <pc:docMk/>
            <pc:sldMk cId="1298360242" sldId="2147481120"/>
            <ac:picMk id="6" creationId="{DE26489B-CB3B-A7F0-EA33-4C861159B5C4}"/>
          </ac:picMkLst>
        </pc:picChg>
        <pc:picChg chg="add del mod">
          <ac:chgData name="Raymond Mushabe" userId="c276d7e5-a885-4d83-b838-c8f2f4dd528c" providerId="ADAL" clId="{20452E0E-B185-41CC-8158-C794881CB197}" dt="2025-05-19T14:21:07.560" v="469" actId="478"/>
          <ac:picMkLst>
            <pc:docMk/>
            <pc:sldMk cId="1298360242" sldId="2147481120"/>
            <ac:picMk id="7" creationId="{014546F1-9376-99EB-6448-FEE2AEFFC55C}"/>
          </ac:picMkLst>
        </pc:picChg>
        <pc:picChg chg="add del mod">
          <ac:chgData name="Raymond Mushabe" userId="c276d7e5-a885-4d83-b838-c8f2f4dd528c" providerId="ADAL" clId="{20452E0E-B185-41CC-8158-C794881CB197}" dt="2025-05-19T14:47:04.342" v="1090" actId="478"/>
          <ac:picMkLst>
            <pc:docMk/>
            <pc:sldMk cId="1298360242" sldId="2147481120"/>
            <ac:picMk id="9" creationId="{9929F840-A659-7E25-4936-DE488F6A2BBE}"/>
          </ac:picMkLst>
        </pc:picChg>
        <pc:picChg chg="add del mod">
          <ac:chgData name="Raymond Mushabe" userId="c276d7e5-a885-4d83-b838-c8f2f4dd528c" providerId="ADAL" clId="{20452E0E-B185-41CC-8158-C794881CB197}" dt="2025-05-19T14:21:09.228" v="470" actId="478"/>
          <ac:picMkLst>
            <pc:docMk/>
            <pc:sldMk cId="1298360242" sldId="2147481120"/>
            <ac:picMk id="12" creationId="{8FE922FF-4113-4EA3-4AE1-B6DC3A52FD5B}"/>
          </ac:picMkLst>
        </pc:picChg>
        <pc:picChg chg="add del mod">
          <ac:chgData name="Raymond Mushabe" userId="c276d7e5-a885-4d83-b838-c8f2f4dd528c" providerId="ADAL" clId="{20452E0E-B185-41CC-8158-C794881CB197}" dt="2025-05-19T14:21:10.812" v="471" actId="478"/>
          <ac:picMkLst>
            <pc:docMk/>
            <pc:sldMk cId="1298360242" sldId="2147481120"/>
            <ac:picMk id="13" creationId="{865E7272-DCB0-E3BD-31E8-1461C97F9AB4}"/>
          </ac:picMkLst>
        </pc:picChg>
        <pc:picChg chg="add del mod">
          <ac:chgData name="Raymond Mushabe" userId="c276d7e5-a885-4d83-b838-c8f2f4dd528c" providerId="ADAL" clId="{20452E0E-B185-41CC-8158-C794881CB197}" dt="2025-05-19T14:21:07.560" v="469" actId="478"/>
          <ac:picMkLst>
            <pc:docMk/>
            <pc:sldMk cId="1298360242" sldId="2147481120"/>
            <ac:picMk id="14" creationId="{617B4804-719B-2F41-77F8-71BC4BF8522C}"/>
          </ac:picMkLst>
        </pc:picChg>
        <pc:picChg chg="add mod">
          <ac:chgData name="Raymond Mushabe" userId="c276d7e5-a885-4d83-b838-c8f2f4dd528c" providerId="ADAL" clId="{20452E0E-B185-41CC-8158-C794881CB197}" dt="2025-05-19T14:46:22.042" v="1089" actId="1036"/>
          <ac:picMkLst>
            <pc:docMk/>
            <pc:sldMk cId="1298360242" sldId="2147481120"/>
            <ac:picMk id="15" creationId="{31693C4D-B21C-AC0F-0BDD-71B1722CCCDA}"/>
          </ac:picMkLst>
        </pc:picChg>
        <pc:picChg chg="add mod">
          <ac:chgData name="Raymond Mushabe" userId="c276d7e5-a885-4d83-b838-c8f2f4dd528c" providerId="ADAL" clId="{20452E0E-B185-41CC-8158-C794881CB197}" dt="2025-05-19T14:50:56.476" v="1175" actId="164"/>
          <ac:picMkLst>
            <pc:docMk/>
            <pc:sldMk cId="1298360242" sldId="2147481120"/>
            <ac:picMk id="17" creationId="{CC11B831-ED41-AD92-10B2-31A55C0BEA69}"/>
          </ac:picMkLst>
        </pc:picChg>
        <pc:picChg chg="mod topLvl">
          <ac:chgData name="Raymond Mushabe" userId="c276d7e5-a885-4d83-b838-c8f2f4dd528c" providerId="ADAL" clId="{20452E0E-B185-41CC-8158-C794881CB197}" dt="2025-05-19T16:06:53.832" v="1504" actId="1037"/>
          <ac:picMkLst>
            <pc:docMk/>
            <pc:sldMk cId="1298360242" sldId="2147481120"/>
            <ac:picMk id="18" creationId="{A5AC2ED7-46FF-3500-E0ED-B9281161D265}"/>
          </ac:picMkLst>
        </pc:picChg>
        <pc:picChg chg="add mod">
          <ac:chgData name="Raymond Mushabe" userId="c276d7e5-a885-4d83-b838-c8f2f4dd528c" providerId="ADAL" clId="{20452E0E-B185-41CC-8158-C794881CB197}" dt="2025-05-19T14:50:48.081" v="1174" actId="164"/>
          <ac:picMkLst>
            <pc:docMk/>
            <pc:sldMk cId="1298360242" sldId="2147481120"/>
            <ac:picMk id="21" creationId="{F1C73809-09C6-00A9-0F3D-675882A03511}"/>
          </ac:picMkLst>
        </pc:picChg>
        <pc:picChg chg="add mod">
          <ac:chgData name="Raymond Mushabe" userId="c276d7e5-a885-4d83-b838-c8f2f4dd528c" providerId="ADAL" clId="{20452E0E-B185-41CC-8158-C794881CB197}" dt="2025-05-19T14:49:26.292" v="1131"/>
          <ac:picMkLst>
            <pc:docMk/>
            <pc:sldMk cId="1298360242" sldId="2147481120"/>
            <ac:picMk id="23" creationId="{12057777-2753-77AD-E874-DFD07D612FFE}"/>
          </ac:picMkLst>
        </pc:picChg>
      </pc:sldChg>
      <pc:sldChg chg="add del setBg">
        <pc:chgData name="Raymond Mushabe" userId="c276d7e5-a885-4d83-b838-c8f2f4dd528c" providerId="ADAL" clId="{20452E0E-B185-41CC-8158-C794881CB197}" dt="2025-05-19T14:30:25.041" v="555"/>
        <pc:sldMkLst>
          <pc:docMk/>
          <pc:sldMk cId="924144131" sldId="2147481121"/>
        </pc:sldMkLst>
      </pc:sldChg>
      <pc:sldChg chg="addSp delSp modSp add del mod setBg modAnim">
        <pc:chgData name="Raymond Mushabe" userId="c276d7e5-a885-4d83-b838-c8f2f4dd528c" providerId="ADAL" clId="{20452E0E-B185-41CC-8158-C794881CB197}" dt="2025-05-19T14:43:24.264" v="1080" actId="47"/>
        <pc:sldMkLst>
          <pc:docMk/>
          <pc:sldMk cId="3135321366" sldId="2147481121"/>
        </pc:sldMkLst>
        <pc:spChg chg="mod">
          <ac:chgData name="Raymond Mushabe" userId="c276d7e5-a885-4d83-b838-c8f2f4dd528c" providerId="ADAL" clId="{20452E0E-B185-41CC-8158-C794881CB197}" dt="2025-05-19T14:30:55.785" v="560" actId="14100"/>
          <ac:spMkLst>
            <pc:docMk/>
            <pc:sldMk cId="3135321366" sldId="2147481121"/>
            <ac:spMk id="20" creationId="{3BEDDAC5-15D3-F459-D407-C7DDC4ADD1E8}"/>
          </ac:spMkLst>
        </pc:spChg>
        <pc:spChg chg="mod">
          <ac:chgData name="Raymond Mushabe" userId="c276d7e5-a885-4d83-b838-c8f2f4dd528c" providerId="ADAL" clId="{20452E0E-B185-41CC-8158-C794881CB197}" dt="2025-05-19T14:31:37.524" v="578" actId="20577"/>
          <ac:spMkLst>
            <pc:docMk/>
            <pc:sldMk cId="3135321366" sldId="2147481121"/>
            <ac:spMk id="33" creationId="{EE740395-E7D6-8DDD-E244-74FF14E4207C}"/>
          </ac:spMkLst>
        </pc:spChg>
        <pc:grpChg chg="del">
          <ac:chgData name="Raymond Mushabe" userId="c276d7e5-a885-4d83-b838-c8f2f4dd528c" providerId="ADAL" clId="{20452E0E-B185-41CC-8158-C794881CB197}" dt="2025-05-19T14:30:57.067" v="561" actId="478"/>
          <ac:grpSpMkLst>
            <pc:docMk/>
            <pc:sldMk cId="3135321366" sldId="2147481121"/>
            <ac:grpSpMk id="6" creationId="{998BC3F2-0BF1-8071-67FA-FF4FC1E0DA6B}"/>
          </ac:grpSpMkLst>
        </pc:grpChg>
        <pc:picChg chg="add mod">
          <ac:chgData name="Raymond Mushabe" userId="c276d7e5-a885-4d83-b838-c8f2f4dd528c" providerId="ADAL" clId="{20452E0E-B185-41CC-8158-C794881CB197}" dt="2025-05-19T14:33:19.445" v="583" actId="1076"/>
          <ac:picMkLst>
            <pc:docMk/>
            <pc:sldMk cId="3135321366" sldId="2147481121"/>
            <ac:picMk id="8" creationId="{902965A6-DECA-64E5-5DC7-DDDA32AA410A}"/>
          </ac:picMkLst>
        </pc:picChg>
      </pc:sldChg>
    </pc:docChg>
  </pc:docChgLst>
  <pc:docChgLst>
    <pc:chgData name="Raymond Mushabe" userId="c276d7e5-a885-4d83-b838-c8f2f4dd528c" providerId="ADAL" clId="{4AFE1C19-2694-4426-93A8-AF9017DA5723}"/>
    <pc:docChg chg="undo custSel addSld delSld modSld sldOrd delMainMaster addSection modSection">
      <pc:chgData name="Raymond Mushabe" userId="c276d7e5-a885-4d83-b838-c8f2f4dd528c" providerId="ADAL" clId="{4AFE1C19-2694-4426-93A8-AF9017DA5723}" dt="2025-03-26T13:01:53.324" v="7906" actId="1076"/>
      <pc:docMkLst>
        <pc:docMk/>
      </pc:docMkLst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1231892391" sldId="256"/>
        </pc:sldMkLst>
      </pc:sldChg>
      <pc:sldChg chg="modSp add mod">
        <pc:chgData name="Raymond Mushabe" userId="c276d7e5-a885-4d83-b838-c8f2f4dd528c" providerId="ADAL" clId="{4AFE1C19-2694-4426-93A8-AF9017DA5723}" dt="2025-03-18T10:18:59.128" v="7739" actId="20577"/>
        <pc:sldMkLst>
          <pc:docMk/>
          <pc:sldMk cId="2152705214" sldId="579"/>
        </pc:sldMkLst>
        <pc:spChg chg="mod">
          <ac:chgData name="Raymond Mushabe" userId="c276d7e5-a885-4d83-b838-c8f2f4dd528c" providerId="ADAL" clId="{4AFE1C19-2694-4426-93A8-AF9017DA5723}" dt="2025-03-18T10:18:59.128" v="7739" actId="20577"/>
          <ac:spMkLst>
            <pc:docMk/>
            <pc:sldMk cId="2152705214" sldId="579"/>
            <ac:spMk id="3" creationId="{CC62DBCC-CB8E-D34F-81FE-8ABBC2005215}"/>
          </ac:spMkLst>
        </pc:spChg>
      </pc:sldChg>
      <pc:sldChg chg="addSp modSp mod">
        <pc:chgData name="Raymond Mushabe" userId="c276d7e5-a885-4d83-b838-c8f2f4dd528c" providerId="ADAL" clId="{4AFE1C19-2694-4426-93A8-AF9017DA5723}" dt="2025-03-18T08:27:40.237" v="5207" actId="14100"/>
        <pc:sldMkLst>
          <pc:docMk/>
          <pc:sldMk cId="2396895297" sldId="658"/>
        </pc:sldMkLst>
        <pc:spChg chg="add mod">
          <ac:chgData name="Raymond Mushabe" userId="c276d7e5-a885-4d83-b838-c8f2f4dd528c" providerId="ADAL" clId="{4AFE1C19-2694-4426-93A8-AF9017DA5723}" dt="2025-03-17T15:22:40.007" v="105" actId="20577"/>
          <ac:spMkLst>
            <pc:docMk/>
            <pc:sldMk cId="2396895297" sldId="658"/>
            <ac:spMk id="2" creationId="{17556CF8-4CDD-CA3F-7AB0-ED47CE402CF7}"/>
          </ac:spMkLst>
        </pc:spChg>
        <pc:spChg chg="mod">
          <ac:chgData name="Raymond Mushabe" userId="c276d7e5-a885-4d83-b838-c8f2f4dd528c" providerId="ADAL" clId="{4AFE1C19-2694-4426-93A8-AF9017DA5723}" dt="2025-03-17T15:20:14.984" v="7" actId="14100"/>
          <ac:spMkLst>
            <pc:docMk/>
            <pc:sldMk cId="2396895297" sldId="658"/>
            <ac:spMk id="3" creationId="{6BDB3BF7-DD85-0651-EF03-EF29F44598BC}"/>
          </ac:spMkLst>
        </pc:spChg>
        <pc:picChg chg="mod">
          <ac:chgData name="Raymond Mushabe" userId="c276d7e5-a885-4d83-b838-c8f2f4dd528c" providerId="ADAL" clId="{4AFE1C19-2694-4426-93A8-AF9017DA5723}" dt="2025-03-18T08:27:40.237" v="5207" actId="14100"/>
          <ac:picMkLst>
            <pc:docMk/>
            <pc:sldMk cId="2396895297" sldId="658"/>
            <ac:picMk id="21" creationId="{1BEB2D07-6B38-DB23-02F7-AB6718865443}"/>
          </ac:picMkLst>
        </pc:picChg>
      </pc:sldChg>
      <pc:sldChg chg="add del setBg">
        <pc:chgData name="Raymond Mushabe" userId="c276d7e5-a885-4d83-b838-c8f2f4dd528c" providerId="ADAL" clId="{4AFE1C19-2694-4426-93A8-AF9017DA5723}" dt="2025-03-17T15:26:16.116" v="119" actId="47"/>
        <pc:sldMkLst>
          <pc:docMk/>
          <pc:sldMk cId="1145759182" sldId="2399"/>
        </pc:sldMkLst>
      </pc:sldChg>
      <pc:sldChg chg="addSp delSp modSp mod ord modAnim">
        <pc:chgData name="Raymond Mushabe" userId="c276d7e5-a885-4d83-b838-c8f2f4dd528c" providerId="ADAL" clId="{4AFE1C19-2694-4426-93A8-AF9017DA5723}" dt="2025-03-26T13:01:53.324" v="7906" actId="1076"/>
        <pc:sldMkLst>
          <pc:docMk/>
          <pc:sldMk cId="636636350" sldId="2519"/>
        </pc:sldMkLst>
        <pc:spChg chg="add mod">
          <ac:chgData name="Raymond Mushabe" userId="c276d7e5-a885-4d83-b838-c8f2f4dd528c" providerId="ADAL" clId="{4AFE1C19-2694-4426-93A8-AF9017DA5723}" dt="2025-03-17T15:34:29.019" v="268" actId="403"/>
          <ac:spMkLst>
            <pc:docMk/>
            <pc:sldMk cId="636636350" sldId="2519"/>
            <ac:spMk id="29" creationId="{C4A643F3-1B07-4043-DB2D-7D353E474755}"/>
          </ac:spMkLst>
        </pc:spChg>
        <pc:spChg chg="add mod">
          <ac:chgData name="Raymond Mushabe" userId="c276d7e5-a885-4d83-b838-c8f2f4dd528c" providerId="ADAL" clId="{4AFE1C19-2694-4426-93A8-AF9017DA5723}" dt="2025-03-17T15:34:47.062" v="270" actId="1076"/>
          <ac:spMkLst>
            <pc:docMk/>
            <pc:sldMk cId="636636350" sldId="2519"/>
            <ac:spMk id="34" creationId="{F196FE60-5037-8330-22A6-0BEC9C99E92E}"/>
          </ac:spMkLst>
        </pc:spChg>
        <pc:spChg chg="add mod">
          <ac:chgData name="Raymond Mushabe" userId="c276d7e5-a885-4d83-b838-c8f2f4dd528c" providerId="ADAL" clId="{4AFE1C19-2694-4426-93A8-AF9017DA5723}" dt="2025-03-17T15:35:25.887" v="275" actId="1076"/>
          <ac:spMkLst>
            <pc:docMk/>
            <pc:sldMk cId="636636350" sldId="2519"/>
            <ac:spMk id="50" creationId="{FD1C7BBE-6879-F2EC-DE85-C9294B2FE817}"/>
          </ac:spMkLst>
        </pc:spChg>
        <pc:spChg chg="add mod">
          <ac:chgData name="Raymond Mushabe" userId="c276d7e5-a885-4d83-b838-c8f2f4dd528c" providerId="ADAL" clId="{4AFE1C19-2694-4426-93A8-AF9017DA5723}" dt="2025-03-26T09:55:05.348" v="7904" actId="1036"/>
          <ac:spMkLst>
            <pc:docMk/>
            <pc:sldMk cId="636636350" sldId="2519"/>
            <ac:spMk id="51" creationId="{D1115265-7A7C-257A-20E0-DE64456E1453}"/>
          </ac:spMkLst>
        </pc:spChg>
        <pc:grpChg chg="add mod">
          <ac:chgData name="Raymond Mushabe" userId="c276d7e5-a885-4d83-b838-c8f2f4dd528c" providerId="ADAL" clId="{4AFE1C19-2694-4426-93A8-AF9017DA5723}" dt="2025-03-26T13:01:53.324" v="7906" actId="1076"/>
          <ac:grpSpMkLst>
            <pc:docMk/>
            <pc:sldMk cId="636636350" sldId="2519"/>
            <ac:grpSpMk id="49" creationId="{62E5BF43-E8EF-DFA3-47DD-5D167099530F}"/>
          </ac:grpSpMkLst>
        </pc:grpChg>
        <pc:picChg chg="mod">
          <ac:chgData name="Raymond Mushabe" userId="c276d7e5-a885-4d83-b838-c8f2f4dd528c" providerId="ADAL" clId="{4AFE1C19-2694-4426-93A8-AF9017DA5723}" dt="2025-03-26T12:07:38.601" v="7905" actId="1076"/>
          <ac:picMkLst>
            <pc:docMk/>
            <pc:sldMk cId="636636350" sldId="2519"/>
            <ac:picMk id="9" creationId="{1286B0C6-F989-FC02-BA7D-AF6D824810F0}"/>
          </ac:picMkLst>
        </pc:picChg>
        <pc:picChg chg="mod">
          <ac:chgData name="Raymond Mushabe" userId="c276d7e5-a885-4d83-b838-c8f2f4dd528c" providerId="ADAL" clId="{4AFE1C19-2694-4426-93A8-AF9017DA5723}" dt="2025-03-17T15:33:38.401" v="235" actId="14100"/>
          <ac:picMkLst>
            <pc:docMk/>
            <pc:sldMk cId="636636350" sldId="2519"/>
            <ac:picMk id="10" creationId="{D5868A24-FCB0-9C63-E91D-3A366402F358}"/>
          </ac:picMkLst>
        </pc:picChg>
        <pc:picChg chg="add mod">
          <ac:chgData name="Raymond Mushabe" userId="c276d7e5-a885-4d83-b838-c8f2f4dd528c" providerId="ADAL" clId="{4AFE1C19-2694-4426-93A8-AF9017DA5723}" dt="2025-03-17T15:33:56.877" v="264" actId="14100"/>
          <ac:picMkLst>
            <pc:docMk/>
            <pc:sldMk cId="636636350" sldId="2519"/>
            <ac:picMk id="47" creationId="{D912D69E-B453-B8F9-16E4-70B56EF10742}"/>
          </ac:picMkLst>
        </pc:picChg>
        <pc:picChg chg="add mod">
          <ac:chgData name="Raymond Mushabe" userId="c276d7e5-a885-4d83-b838-c8f2f4dd528c" providerId="ADAL" clId="{4AFE1C19-2694-4426-93A8-AF9017DA5723}" dt="2025-03-26T09:54:53.176" v="7897" actId="1035"/>
          <ac:picMkLst>
            <pc:docMk/>
            <pc:sldMk cId="636636350" sldId="2519"/>
            <ac:picMk id="48" creationId="{5A1BDFBC-33AA-19C7-C8E4-130ACB54E64B}"/>
          </ac:picMkLst>
        </pc:picChg>
      </pc:sldChg>
      <pc:sldChg chg="addSp delSp modSp mod modAnim">
        <pc:chgData name="Raymond Mushabe" userId="c276d7e5-a885-4d83-b838-c8f2f4dd528c" providerId="ADAL" clId="{4AFE1C19-2694-4426-93A8-AF9017DA5723}" dt="2025-03-18T11:56:14.170" v="7837"/>
        <pc:sldMkLst>
          <pc:docMk/>
          <pc:sldMk cId="2967858668" sldId="2147481107"/>
        </pc:sldMkLst>
        <pc:spChg chg="add mod">
          <ac:chgData name="Raymond Mushabe" userId="c276d7e5-a885-4d83-b838-c8f2f4dd528c" providerId="ADAL" clId="{4AFE1C19-2694-4426-93A8-AF9017DA5723}" dt="2025-03-18T11:43:35.458" v="7832" actId="108"/>
          <ac:spMkLst>
            <pc:docMk/>
            <pc:sldMk cId="2967858668" sldId="2147481107"/>
            <ac:spMk id="20" creationId="{47237192-362D-6704-4531-C7C2C040E5B9}"/>
          </ac:spMkLst>
        </pc:spChg>
        <pc:spChg chg="mod">
          <ac:chgData name="Raymond Mushabe" userId="c276d7e5-a885-4d83-b838-c8f2f4dd528c" providerId="ADAL" clId="{4AFE1C19-2694-4426-93A8-AF9017DA5723}" dt="2025-03-18T11:42:19.758" v="7831" actId="14100"/>
          <ac:spMkLst>
            <pc:docMk/>
            <pc:sldMk cId="2967858668" sldId="2147481107"/>
            <ac:spMk id="33" creationId="{1463E170-7799-D7FC-7D6E-369CE41D5EE9}"/>
          </ac:spMkLst>
        </pc:spChg>
        <pc:spChg chg="add mod">
          <ac:chgData name="Raymond Mushabe" userId="c276d7e5-a885-4d83-b838-c8f2f4dd528c" providerId="ADAL" clId="{4AFE1C19-2694-4426-93A8-AF9017DA5723}" dt="2025-03-18T11:44:17.379" v="7833" actId="20577"/>
          <ac:spMkLst>
            <pc:docMk/>
            <pc:sldMk cId="2967858668" sldId="2147481107"/>
            <ac:spMk id="40" creationId="{153C722F-8A2F-FA07-466C-ABBB816F7E41}"/>
          </ac:spMkLst>
        </pc:spChg>
        <pc:picChg chg="add mod">
          <ac:chgData name="Raymond Mushabe" userId="c276d7e5-a885-4d83-b838-c8f2f4dd528c" providerId="ADAL" clId="{4AFE1C19-2694-4426-93A8-AF9017DA5723}" dt="2025-03-17T15:55:19.686" v="613" actId="1076"/>
          <ac:picMkLst>
            <pc:docMk/>
            <pc:sldMk cId="2967858668" sldId="2147481107"/>
            <ac:picMk id="23" creationId="{BBBC9630-E7AF-C082-6618-958F8D3EE603}"/>
          </ac:picMkLst>
        </pc:picChg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34988074" sldId="2147481108"/>
        </pc:sldMkLst>
      </pc:sldChg>
      <pc:sldChg chg="add del setBg">
        <pc:chgData name="Raymond Mushabe" userId="c276d7e5-a885-4d83-b838-c8f2f4dd528c" providerId="ADAL" clId="{4AFE1C19-2694-4426-93A8-AF9017DA5723}" dt="2025-03-17T16:15:54.840" v="986"/>
        <pc:sldMkLst>
          <pc:docMk/>
          <pc:sldMk cId="1400010336" sldId="2147481108"/>
        </pc:sldMkLst>
      </pc:sldChg>
      <pc:sldChg chg="add del setBg">
        <pc:chgData name="Raymond Mushabe" userId="c276d7e5-a885-4d83-b838-c8f2f4dd528c" providerId="ADAL" clId="{4AFE1C19-2694-4426-93A8-AF9017DA5723}" dt="2025-03-17T16:16:04.001" v="988"/>
        <pc:sldMkLst>
          <pc:docMk/>
          <pc:sldMk cId="1813143567" sldId="2147481108"/>
        </pc:sldMkLst>
      </pc:sldChg>
      <pc:sldChg chg="add del setBg">
        <pc:chgData name="Raymond Mushabe" userId="c276d7e5-a885-4d83-b838-c8f2f4dd528c" providerId="ADAL" clId="{4AFE1C19-2694-4426-93A8-AF9017DA5723}" dt="2025-03-17T16:15:43.009" v="984"/>
        <pc:sldMkLst>
          <pc:docMk/>
          <pc:sldMk cId="1829188790" sldId="2147481108"/>
        </pc:sldMkLst>
      </pc:sldChg>
      <pc:sldChg chg="addSp delSp modSp add mod setBg modAnim">
        <pc:chgData name="Raymond Mushabe" userId="c276d7e5-a885-4d83-b838-c8f2f4dd528c" providerId="ADAL" clId="{4AFE1C19-2694-4426-93A8-AF9017DA5723}" dt="2025-03-18T11:57:24.353" v="7856"/>
        <pc:sldMkLst>
          <pc:docMk/>
          <pc:sldMk cId="3582409608" sldId="2147481108"/>
        </pc:sldMkLst>
        <pc:spChg chg="mod">
          <ac:chgData name="Raymond Mushabe" userId="c276d7e5-a885-4d83-b838-c8f2f4dd528c" providerId="ADAL" clId="{4AFE1C19-2694-4426-93A8-AF9017DA5723}" dt="2025-03-18T09:48:17.709" v="6040" actId="20577"/>
          <ac:spMkLst>
            <pc:docMk/>
            <pc:sldMk cId="3582409608" sldId="2147481108"/>
            <ac:spMk id="20" creationId="{5555B407-DA96-E490-27CC-22819F7650E1}"/>
          </ac:spMkLst>
        </pc:spChg>
        <pc:spChg chg="mod">
          <ac:chgData name="Raymond Mushabe" userId="c276d7e5-a885-4d83-b838-c8f2f4dd528c" providerId="ADAL" clId="{4AFE1C19-2694-4426-93A8-AF9017DA5723}" dt="2025-03-18T11:57:01.002" v="7855" actId="14100"/>
          <ac:spMkLst>
            <pc:docMk/>
            <pc:sldMk cId="3582409608" sldId="2147481108"/>
            <ac:spMk id="33" creationId="{8E8B025A-5979-7C41-015F-D05881BE38FD}"/>
          </ac:spMkLst>
        </pc:spChg>
        <pc:graphicFrameChg chg="add mod modGraphic">
          <ac:chgData name="Raymond Mushabe" userId="c276d7e5-a885-4d83-b838-c8f2f4dd528c" providerId="ADAL" clId="{4AFE1C19-2694-4426-93A8-AF9017DA5723}" dt="2025-03-18T09:49:05.817" v="6042" actId="20577"/>
          <ac:graphicFrameMkLst>
            <pc:docMk/>
            <pc:sldMk cId="3582409608" sldId="2147481108"/>
            <ac:graphicFrameMk id="6" creationId="{C554B623-0C3C-32EF-84D3-3E85552A05B4}"/>
          </ac:graphicFrameMkLst>
        </pc:graphicFrameChg>
        <pc:graphicFrameChg chg="add mod modGraphic">
          <ac:chgData name="Raymond Mushabe" userId="c276d7e5-a885-4d83-b838-c8f2f4dd528c" providerId="ADAL" clId="{4AFE1C19-2694-4426-93A8-AF9017DA5723}" dt="2025-03-18T09:49:01.163" v="6041" actId="20577"/>
          <ac:graphicFrameMkLst>
            <pc:docMk/>
            <pc:sldMk cId="3582409608" sldId="2147481108"/>
            <ac:graphicFrameMk id="8" creationId="{EA744554-7F6A-1764-6EFA-EF08E25A3009}"/>
          </ac:graphicFrameMkLst>
        </pc:graphicFrameChg>
        <pc:picChg chg="add mod">
          <ac:chgData name="Raymond Mushabe" userId="c276d7e5-a885-4d83-b838-c8f2f4dd528c" providerId="ADAL" clId="{4AFE1C19-2694-4426-93A8-AF9017DA5723}" dt="2025-03-17T18:22:10.920" v="2700" actId="14100"/>
          <ac:picMkLst>
            <pc:docMk/>
            <pc:sldMk cId="3582409608" sldId="2147481108"/>
            <ac:picMk id="5" creationId="{B865DB31-1140-1367-ADF3-A2DAADEC6EB2}"/>
          </ac:picMkLst>
        </pc:picChg>
      </pc:sldChg>
      <pc:sldChg chg="add del setBg">
        <pc:chgData name="Raymond Mushabe" userId="c276d7e5-a885-4d83-b838-c8f2f4dd528c" providerId="ADAL" clId="{4AFE1C19-2694-4426-93A8-AF9017DA5723}" dt="2025-03-17T16:20:16.661" v="1033" actId="47"/>
        <pc:sldMkLst>
          <pc:docMk/>
          <pc:sldMk cId="2129542262" sldId="2147481109"/>
        </pc:sldMkLst>
      </pc:sldChg>
      <pc:sldChg chg="addSp delSp modSp add mod setBg">
        <pc:chgData name="Raymond Mushabe" userId="c276d7e5-a885-4d83-b838-c8f2f4dd528c" providerId="ADAL" clId="{4AFE1C19-2694-4426-93A8-AF9017DA5723}" dt="2025-03-18T09:50:45.081" v="6045" actId="20577"/>
        <pc:sldMkLst>
          <pc:docMk/>
          <pc:sldMk cId="2360487479" sldId="2147481109"/>
        </pc:sldMkLst>
        <pc:spChg chg="mod">
          <ac:chgData name="Raymond Mushabe" userId="c276d7e5-a885-4d83-b838-c8f2f4dd528c" providerId="ADAL" clId="{4AFE1C19-2694-4426-93A8-AF9017DA5723}" dt="2025-03-17T16:27:17.533" v="1404" actId="14100"/>
          <ac:spMkLst>
            <pc:docMk/>
            <pc:sldMk cId="2360487479" sldId="2147481109"/>
            <ac:spMk id="33" creationId="{D536F5F3-D0FE-88AC-F100-C428E17C194D}"/>
          </ac:spMkLst>
        </pc:spChg>
      </pc:sldChg>
      <pc:sldChg chg="add del setBg">
        <pc:chgData name="Raymond Mushabe" userId="c276d7e5-a885-4d83-b838-c8f2f4dd528c" providerId="ADAL" clId="{4AFE1C19-2694-4426-93A8-AF9017DA5723}" dt="2025-03-17T16:15:41.883" v="983"/>
        <pc:sldMkLst>
          <pc:docMk/>
          <pc:sldMk cId="2780976194" sldId="2147481109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3130619613" sldId="2147481109"/>
        </pc:sldMkLst>
      </pc:sldChg>
      <pc:sldChg chg="add del setBg">
        <pc:chgData name="Raymond Mushabe" userId="c276d7e5-a885-4d83-b838-c8f2f4dd528c" providerId="ADAL" clId="{4AFE1C19-2694-4426-93A8-AF9017DA5723}" dt="2025-03-17T16:20:16.661" v="1033" actId="47"/>
        <pc:sldMkLst>
          <pc:docMk/>
          <pc:sldMk cId="1771394218" sldId="2147481110"/>
        </pc:sldMkLst>
      </pc:sldChg>
      <pc:sldChg chg="addSp modSp add mod setBg">
        <pc:chgData name="Raymond Mushabe" userId="c276d7e5-a885-4d83-b838-c8f2f4dd528c" providerId="ADAL" clId="{4AFE1C19-2694-4426-93A8-AF9017DA5723}" dt="2025-03-18T08:58:31.672" v="5443" actId="20577"/>
        <pc:sldMkLst>
          <pc:docMk/>
          <pc:sldMk cId="2197832007" sldId="2147481110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4185253690" sldId="2147481110"/>
        </pc:sldMkLst>
      </pc:sldChg>
      <pc:sldChg chg="addSp modSp add mod setBg modAnim">
        <pc:chgData name="Raymond Mushabe" userId="c276d7e5-a885-4d83-b838-c8f2f4dd528c" providerId="ADAL" clId="{4AFE1C19-2694-4426-93A8-AF9017DA5723}" dt="2025-03-18T11:59:04.732" v="7861"/>
        <pc:sldMkLst>
          <pc:docMk/>
          <pc:sldMk cId="47639392" sldId="2147481111"/>
        </pc:sldMkLst>
        <pc:spChg chg="add mod">
          <ac:chgData name="Raymond Mushabe" userId="c276d7e5-a885-4d83-b838-c8f2f4dd528c" providerId="ADAL" clId="{4AFE1C19-2694-4426-93A8-AF9017DA5723}" dt="2025-03-17T16:42:09.004" v="2166" actId="1076"/>
          <ac:spMkLst>
            <pc:docMk/>
            <pc:sldMk cId="47639392" sldId="2147481111"/>
            <ac:spMk id="8" creationId="{3573394D-FFF7-8A7A-BFC7-7852A536D482}"/>
          </ac:spMkLst>
        </pc:spChg>
        <pc:spChg chg="add mod">
          <ac:chgData name="Raymond Mushabe" userId="c276d7e5-a885-4d83-b838-c8f2f4dd528c" providerId="ADAL" clId="{4AFE1C19-2694-4426-93A8-AF9017DA5723}" dt="2025-03-17T16:41:58.672" v="2159" actId="1076"/>
          <ac:spMkLst>
            <pc:docMk/>
            <pc:sldMk cId="47639392" sldId="2147481111"/>
            <ac:spMk id="9" creationId="{F50A90AE-9E37-94EB-CA77-41D354421E17}"/>
          </ac:spMkLst>
        </pc:spChg>
        <pc:spChg chg="mod">
          <ac:chgData name="Raymond Mushabe" userId="c276d7e5-a885-4d83-b838-c8f2f4dd528c" providerId="ADAL" clId="{4AFE1C19-2694-4426-93A8-AF9017DA5723}" dt="2025-03-18T09:00:23.757" v="5494" actId="20577"/>
          <ac:spMkLst>
            <pc:docMk/>
            <pc:sldMk cId="47639392" sldId="2147481111"/>
            <ac:spMk id="20" creationId="{7E30CAF5-CD9B-7B30-59A3-882362FFDB50}"/>
          </ac:spMkLst>
        </pc:spChg>
        <pc:spChg chg="mod">
          <ac:chgData name="Raymond Mushabe" userId="c276d7e5-a885-4d83-b838-c8f2f4dd528c" providerId="ADAL" clId="{4AFE1C19-2694-4426-93A8-AF9017DA5723}" dt="2025-03-18T09:55:34.001" v="6125" actId="20577"/>
          <ac:spMkLst>
            <pc:docMk/>
            <pc:sldMk cId="47639392" sldId="2147481111"/>
            <ac:spMk id="33" creationId="{EF90F624-605B-3C27-298D-3E625A835312}"/>
          </ac:spMkLst>
        </pc:spChg>
        <pc:spChg chg="mod ord">
          <ac:chgData name="Raymond Mushabe" userId="c276d7e5-a885-4d83-b838-c8f2f4dd528c" providerId="ADAL" clId="{4AFE1C19-2694-4426-93A8-AF9017DA5723}" dt="2025-03-17T16:42:21.394" v="2169" actId="1076"/>
          <ac:spMkLst>
            <pc:docMk/>
            <pc:sldMk cId="47639392" sldId="2147481111"/>
            <ac:spMk id="40" creationId="{84BCFE2C-BE46-03EC-A91C-5B7B6161EB08}"/>
          </ac:spMkLst>
        </pc:spChg>
        <pc:picChg chg="add mod">
          <ac:chgData name="Raymond Mushabe" userId="c276d7e5-a885-4d83-b838-c8f2f4dd528c" providerId="ADAL" clId="{4AFE1C19-2694-4426-93A8-AF9017DA5723}" dt="2025-03-17T16:40:41.287" v="2108" actId="1076"/>
          <ac:picMkLst>
            <pc:docMk/>
            <pc:sldMk cId="47639392" sldId="2147481111"/>
            <ac:picMk id="3" creationId="{501513BF-FD58-A95C-5DD3-DF55851690C4}"/>
          </ac:picMkLst>
        </pc:picChg>
        <pc:picChg chg="add mod">
          <ac:chgData name="Raymond Mushabe" userId="c276d7e5-a885-4d83-b838-c8f2f4dd528c" providerId="ADAL" clId="{4AFE1C19-2694-4426-93A8-AF9017DA5723}" dt="2025-03-17T16:40:29.857" v="2105" actId="14100"/>
          <ac:picMkLst>
            <pc:docMk/>
            <pc:sldMk cId="47639392" sldId="2147481111"/>
            <ac:picMk id="5" creationId="{2E0EB3B7-62AF-F93A-3BEA-ED412325B0A7}"/>
          </ac:picMkLst>
        </pc:picChg>
        <pc:picChg chg="add mod">
          <ac:chgData name="Raymond Mushabe" userId="c276d7e5-a885-4d83-b838-c8f2f4dd528c" providerId="ADAL" clId="{4AFE1C19-2694-4426-93A8-AF9017DA5723}" dt="2025-03-17T16:40:36.020" v="2107" actId="1076"/>
          <ac:picMkLst>
            <pc:docMk/>
            <pc:sldMk cId="47639392" sldId="2147481111"/>
            <ac:picMk id="7" creationId="{E6F4914E-4B90-D3FD-4556-D4339CEC30AE}"/>
          </ac:picMkLst>
        </pc:picChg>
      </pc:sldChg>
      <pc:sldChg chg="add del setBg">
        <pc:chgData name="Raymond Mushabe" userId="c276d7e5-a885-4d83-b838-c8f2f4dd528c" providerId="ADAL" clId="{4AFE1C19-2694-4426-93A8-AF9017DA5723}" dt="2025-03-17T16:20:16.661" v="1033" actId="47"/>
        <pc:sldMkLst>
          <pc:docMk/>
          <pc:sldMk cId="456790113" sldId="2147481111"/>
        </pc:sldMkLst>
      </pc:sldChg>
      <pc:sldChg chg="add del setBg">
        <pc:chgData name="Raymond Mushabe" userId="c276d7e5-a885-4d83-b838-c8f2f4dd528c" providerId="ADAL" clId="{4AFE1C19-2694-4426-93A8-AF9017DA5723}" dt="2025-03-17T16:20:16.661" v="1033" actId="47"/>
        <pc:sldMkLst>
          <pc:docMk/>
          <pc:sldMk cId="1273024173" sldId="2147481112"/>
        </pc:sldMkLst>
      </pc:sldChg>
      <pc:sldChg chg="addSp delSp modSp add mod setBg">
        <pc:chgData name="Raymond Mushabe" userId="c276d7e5-a885-4d83-b838-c8f2f4dd528c" providerId="ADAL" clId="{4AFE1C19-2694-4426-93A8-AF9017DA5723}" dt="2025-03-18T13:58:46.006" v="7887" actId="20577"/>
        <pc:sldMkLst>
          <pc:docMk/>
          <pc:sldMk cId="1342117982" sldId="2147481112"/>
        </pc:sldMkLst>
        <pc:spChg chg="mod">
          <ac:chgData name="Raymond Mushabe" userId="c276d7e5-a885-4d83-b838-c8f2f4dd528c" providerId="ADAL" clId="{4AFE1C19-2694-4426-93A8-AF9017DA5723}" dt="2025-03-18T13:58:46.006" v="7887" actId="20577"/>
          <ac:spMkLst>
            <pc:docMk/>
            <pc:sldMk cId="1342117982" sldId="2147481112"/>
            <ac:spMk id="20" creationId="{2EB8BD1E-802D-7A92-5B4A-3FE849A4BB17}"/>
          </ac:spMkLst>
        </pc:spChg>
        <pc:spChg chg="mod">
          <ac:chgData name="Raymond Mushabe" userId="c276d7e5-a885-4d83-b838-c8f2f4dd528c" providerId="ADAL" clId="{4AFE1C19-2694-4426-93A8-AF9017DA5723}" dt="2025-03-18T10:08:19.687" v="6651" actId="14100"/>
          <ac:spMkLst>
            <pc:docMk/>
            <pc:sldMk cId="1342117982" sldId="2147481112"/>
            <ac:spMk id="33" creationId="{050039F4-24E4-74B3-6FC3-50011392B2CB}"/>
          </ac:spMkLst>
        </pc:spChg>
        <pc:picChg chg="add mod">
          <ac:chgData name="Raymond Mushabe" userId="c276d7e5-a885-4d83-b838-c8f2f4dd528c" providerId="ADAL" clId="{4AFE1C19-2694-4426-93A8-AF9017DA5723}" dt="2025-03-18T12:01:06.797" v="7865" actId="1076"/>
          <ac:picMkLst>
            <pc:docMk/>
            <pc:sldMk cId="1342117982" sldId="2147481112"/>
            <ac:picMk id="5" creationId="{B2A28918-57DD-F284-3190-A61B3393B618}"/>
          </ac:picMkLst>
        </pc:picChg>
      </pc:sldChg>
      <pc:sldChg chg="add del">
        <pc:chgData name="Raymond Mushabe" userId="c276d7e5-a885-4d83-b838-c8f2f4dd528c" providerId="ADAL" clId="{4AFE1C19-2694-4426-93A8-AF9017DA5723}" dt="2025-03-17T16:17:52.679" v="998" actId="47"/>
        <pc:sldMkLst>
          <pc:docMk/>
          <pc:sldMk cId="2311736308" sldId="2147481112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900595281" sldId="2147481113"/>
        </pc:sldMkLst>
      </pc:sldChg>
      <pc:sldChg chg="add del setBg">
        <pc:chgData name="Raymond Mushabe" userId="c276d7e5-a885-4d83-b838-c8f2f4dd528c" providerId="ADAL" clId="{4AFE1C19-2694-4426-93A8-AF9017DA5723}" dt="2025-03-17T16:17:52.679" v="998" actId="47"/>
        <pc:sldMkLst>
          <pc:docMk/>
          <pc:sldMk cId="2013125881" sldId="2147481113"/>
        </pc:sldMkLst>
      </pc:sldChg>
      <pc:sldChg chg="add del setBg">
        <pc:chgData name="Raymond Mushabe" userId="c276d7e5-a885-4d83-b838-c8f2f4dd528c" providerId="ADAL" clId="{4AFE1C19-2694-4426-93A8-AF9017DA5723}" dt="2025-03-17T16:20:16.661" v="1033" actId="47"/>
        <pc:sldMkLst>
          <pc:docMk/>
          <pc:sldMk cId="3674039399" sldId="2147481113"/>
        </pc:sldMkLst>
      </pc:sldChg>
      <pc:sldChg chg="delSp modSp add mod setBg">
        <pc:chgData name="Raymond Mushabe" userId="c276d7e5-a885-4d83-b838-c8f2f4dd528c" providerId="ADAL" clId="{4AFE1C19-2694-4426-93A8-AF9017DA5723}" dt="2025-03-18T10:18:01.251" v="7722" actId="313"/>
        <pc:sldMkLst>
          <pc:docMk/>
          <pc:sldMk cId="3846824324" sldId="2147481113"/>
        </pc:sldMkLst>
        <pc:spChg chg="mod">
          <ac:chgData name="Raymond Mushabe" userId="c276d7e5-a885-4d83-b838-c8f2f4dd528c" providerId="ADAL" clId="{4AFE1C19-2694-4426-93A8-AF9017DA5723}" dt="2025-03-18T10:18:01.251" v="7722" actId="313"/>
          <ac:spMkLst>
            <pc:docMk/>
            <pc:sldMk cId="3846824324" sldId="2147481113"/>
            <ac:spMk id="20" creationId="{566C75BA-04EB-B470-70F7-73CBAEDF6298}"/>
          </ac:spMkLst>
        </pc:spChg>
        <pc:spChg chg="mod">
          <ac:chgData name="Raymond Mushabe" userId="c276d7e5-a885-4d83-b838-c8f2f4dd528c" providerId="ADAL" clId="{4AFE1C19-2694-4426-93A8-AF9017DA5723}" dt="2025-03-17T16:51:19.660" v="2655" actId="20577"/>
          <ac:spMkLst>
            <pc:docMk/>
            <pc:sldMk cId="3846824324" sldId="2147481113"/>
            <ac:spMk id="33" creationId="{9B08CF5A-BF0D-9D9C-45D9-9563367F8FD9}"/>
          </ac:spMkLst>
        </pc:spChg>
      </pc:sldChg>
      <pc:sldChg chg="add del setBg">
        <pc:chgData name="Raymond Mushabe" userId="c276d7e5-a885-4d83-b838-c8f2f4dd528c" providerId="ADAL" clId="{4AFE1C19-2694-4426-93A8-AF9017DA5723}" dt="2025-03-17T16:16:23.271" v="992"/>
        <pc:sldMkLst>
          <pc:docMk/>
          <pc:sldMk cId="778252501" sldId="2147481114"/>
        </pc:sldMkLst>
      </pc:sldChg>
      <pc:sldChg chg="add del setBg">
        <pc:chgData name="Raymond Mushabe" userId="c276d7e5-a885-4d83-b838-c8f2f4dd528c" providerId="ADAL" clId="{4AFE1C19-2694-4426-93A8-AF9017DA5723}" dt="2025-03-17T16:17:52.679" v="998" actId="47"/>
        <pc:sldMkLst>
          <pc:docMk/>
          <pc:sldMk cId="788008672" sldId="2147481114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1728477972" sldId="2147481114"/>
        </pc:sldMkLst>
      </pc:sldChg>
      <pc:sldChg chg="modSp add del mod setBg">
        <pc:chgData name="Raymond Mushabe" userId="c276d7e5-a885-4d83-b838-c8f2f4dd528c" providerId="ADAL" clId="{4AFE1C19-2694-4426-93A8-AF9017DA5723}" dt="2025-03-18T10:19:07.700" v="7740" actId="47"/>
        <pc:sldMkLst>
          <pc:docMk/>
          <pc:sldMk cId="3100385031" sldId="2147481114"/>
        </pc:sldMkLst>
      </pc:sldChg>
      <pc:sldChg chg="addSp delSp modSp add mod setBg modAnim">
        <pc:chgData name="Raymond Mushabe" userId="c276d7e5-a885-4d83-b838-c8f2f4dd528c" providerId="ADAL" clId="{4AFE1C19-2694-4426-93A8-AF9017DA5723}" dt="2025-03-18T12:01:03.380" v="7864"/>
        <pc:sldMkLst>
          <pc:docMk/>
          <pc:sldMk cId="1695179227" sldId="2147481115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2656258844" sldId="2147481115"/>
        </pc:sldMkLst>
      </pc:sldChg>
      <pc:sldChg chg="add del setBg">
        <pc:chgData name="Raymond Mushabe" userId="c276d7e5-a885-4d83-b838-c8f2f4dd528c" providerId="ADAL" clId="{4AFE1C19-2694-4426-93A8-AF9017DA5723}" dt="2025-03-17T16:17:52.679" v="998" actId="47"/>
        <pc:sldMkLst>
          <pc:docMk/>
          <pc:sldMk cId="3875635825" sldId="2147481115"/>
        </pc:sldMkLst>
      </pc:sldChg>
      <pc:sldChg chg="add del setBg">
        <pc:chgData name="Raymond Mushabe" userId="c276d7e5-a885-4d83-b838-c8f2f4dd528c" providerId="ADAL" clId="{4AFE1C19-2694-4426-93A8-AF9017DA5723}" dt="2025-03-17T16:17:52.679" v="998" actId="47"/>
        <pc:sldMkLst>
          <pc:docMk/>
          <pc:sldMk cId="2211393628" sldId="2147481116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2636916897" sldId="2147481116"/>
        </pc:sldMkLst>
      </pc:sldChg>
      <pc:sldChg chg="add del setBg">
        <pc:chgData name="Raymond Mushabe" userId="c276d7e5-a885-4d83-b838-c8f2f4dd528c" providerId="ADAL" clId="{4AFE1C19-2694-4426-93A8-AF9017DA5723}" dt="2025-03-17T16:17:52.679" v="998" actId="47"/>
        <pc:sldMkLst>
          <pc:docMk/>
          <pc:sldMk cId="657810395" sldId="2147481117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1471069287" sldId="2147481117"/>
        </pc:sldMkLst>
      </pc:sldChg>
      <pc:sldChg chg="del">
        <pc:chgData name="Raymond Mushabe" userId="c276d7e5-a885-4d83-b838-c8f2f4dd528c" providerId="ADAL" clId="{4AFE1C19-2694-4426-93A8-AF9017DA5723}" dt="2025-03-17T15:43:11.103" v="318" actId="47"/>
        <pc:sldMkLst>
          <pc:docMk/>
          <pc:sldMk cId="2680131653" sldId="2147481119"/>
        </pc:sldMkLst>
      </pc:sldChg>
      <pc:sldMasterChg chg="del delSldLayout">
        <pc:chgData name="Raymond Mushabe" userId="c276d7e5-a885-4d83-b838-c8f2f4dd528c" providerId="ADAL" clId="{4AFE1C19-2694-4426-93A8-AF9017DA5723}" dt="2025-03-17T15:43:11.103" v="318" actId="47"/>
        <pc:sldMasterMkLst>
          <pc:docMk/>
          <pc:sldMasterMk cId="3313353172" sldId="2147483727"/>
        </pc:sldMasterMkLst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3246664715" sldId="2147483728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947826170" sldId="2147483729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3730815989" sldId="2147483730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1589668869" sldId="2147483731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2315374623" sldId="2147483732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3972587081" sldId="2147483733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1084113009" sldId="2147483734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2191339270" sldId="2147483735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4079529714" sldId="2147483736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2939763843" sldId="2147483737"/>
          </pc:sldLayoutMkLst>
        </pc:sldLayoutChg>
        <pc:sldLayoutChg chg="del">
          <pc:chgData name="Raymond Mushabe" userId="c276d7e5-a885-4d83-b838-c8f2f4dd528c" providerId="ADAL" clId="{4AFE1C19-2694-4426-93A8-AF9017DA5723}" dt="2025-03-17T15:43:11.103" v="318" actId="47"/>
          <pc:sldLayoutMkLst>
            <pc:docMk/>
            <pc:sldMasterMk cId="3313353172" sldId="2147483727"/>
            <pc:sldLayoutMk cId="3650109416" sldId="214748373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70D3F-ACB7-4357-A2D6-9C413782AD42}" type="datetimeFigureOut">
              <a:rPr lang="nb-NO" smtClean="0"/>
              <a:t>19.05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DDA0CD-4905-41EF-B6DC-284A803893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26544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DDA0CD-4905-41EF-B6DC-284A8038937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22723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76162-7373-01F0-0CA2-E5A409129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C6FA44-D407-BEA9-6358-EF1F5FCEB3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7768B-4066-3785-19FF-10D6574023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25ED36-0E18-7AAC-16B7-BDF9B7EA6E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363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4F9A7-2D1E-E150-1D80-81306DD58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16E68F-6A6C-43B2-7A01-22B14C347F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4DF959-D17C-B41A-5471-5E48429CEE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F97F9-73BA-AA11-CC39-F9FF8FAD8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41563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93BD6-D02B-A415-FC79-B304151718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371203-57AF-9C74-3E9F-D5DA59E72D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4D2CB7-CD44-0FE8-3108-9F352D7F6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DFE386-7AAC-9806-83BB-7FF94722E5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917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CC16D5-4FCD-4B4F-B548-5C899F7BCBDD}" type="slidenum">
              <a:rPr kumimoji="0" lang="e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142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DDA0CD-4905-41EF-B6DC-284A8038937F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8184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BF6DC-A38B-AC12-AF16-0BD1F9544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127DED-53FD-EF30-3E25-4830030898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4FFDD4-CDB5-9E4A-6010-CD38F9E997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70EA-0242-F20E-3963-B5CB1F83A3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578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92D45-C7B3-08A6-30B3-2C5305B3E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FE99B6-442C-C961-68F5-BC27CAE873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788612-8AA9-449C-6077-9BC491A887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CD433C-B0D1-F758-160A-9F1F70ED98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875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A0F21F-47FC-FD71-C834-3F728E4DA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9B0356-3187-0BF0-7E7C-AF75562C23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C40ECA-1989-0A8E-491B-384F91A8DB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6E17B8-0C39-D444-7608-2CE2E223A8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186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014BA-07EE-205D-83F9-A0B635C38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1CA47C-DDE2-D693-AAB5-CF876EBA0C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CCDE7F-CFEF-D1FC-F0CC-5B8722EEF5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A1DC7-F446-01F9-16DE-3C8A28C3E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078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7C4540-23FA-9E4F-4E53-E9E704775C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7F6984-079E-54F9-A04C-BE8F9C0C73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C0E26D-9EE2-B00E-4CA6-F6918E5B1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499CD-3ED2-2032-939A-0FB03C64BD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6991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A8419C-0C2A-2BAA-4E67-E51E068500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C45AEC-E9FB-6B10-A8CA-9E11095090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00E4F3-690B-AD8C-B3DB-F826419A2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238032-36D1-2439-D65F-4C9AA6F035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7181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A2B8E1-FE6A-73E6-15C6-60A921833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51EA38-0B6C-9D99-18F8-9299ACE99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2D3AF2-D632-1829-C560-C3E193F4AE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goal is very broad, so we have worked to refine the scope into three key use cas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5FEE48-9937-0905-FD22-95D29A90A0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E369A-E7F5-0542-B78D-F8BF23DCD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596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47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595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776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1374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3481010"/>
            <a:ext cx="11160125" cy="1182429"/>
          </a:xfrm>
        </p:spPr>
        <p:txBody>
          <a:bodyPr anchor="t"/>
          <a:lstStyle>
            <a:lvl1pPr algn="ctr">
              <a:lnSpc>
                <a:spcPct val="85000"/>
              </a:lnSpc>
              <a:defRPr sz="45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5426349"/>
            <a:ext cx="11160126" cy="194027"/>
          </a:xfrm>
        </p:spPr>
        <p:txBody>
          <a:bodyPr wrap="square">
            <a:noAutofit/>
          </a:bodyPr>
          <a:lstStyle>
            <a:lvl1pPr algn="ctr">
              <a:defRPr sz="1250" b="0" cap="none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r>
              <a:rPr lang="en-GB" noProof="0">
                <a:sym typeface="WintershallDea" panose="020B0503040000020003" pitchFamily="34" charset="0"/>
              </a:rPr>
              <a:t>City - </a:t>
            </a:r>
            <a:r>
              <a:rPr lang="en-GB">
                <a:sym typeface="WintershallDea" panose="020B0503040000020003" pitchFamily="34" charset="0"/>
              </a:rPr>
              <a:t>00 Month 2022 </a:t>
            </a:r>
            <a:r>
              <a:rPr lang="en-GB" i="1" noProof="0">
                <a:sym typeface="WintershallDea" panose="020B0503040000020003" pitchFamily="34" charset="0"/>
              </a:rPr>
              <a:t>(English format: 1 June 2022 (primary) or 01/06/2022)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5946" y="5226271"/>
            <a:ext cx="11160118" cy="194027"/>
          </a:xfrm>
        </p:spPr>
        <p:txBody>
          <a:bodyPr wrap="square" anchor="b">
            <a:noAutofit/>
          </a:bodyPr>
          <a:lstStyle>
            <a:lvl1pPr algn="ctr">
              <a:defRPr sz="125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 Name Surnam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88001" y="635000"/>
            <a:ext cx="1022715" cy="741363"/>
          </a:xfrm>
          <a:blipFill>
            <a:blip r:embed="rId5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9CE9C88A-51DF-4815-AF78-63B494C1C3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133621"/>
            <a:ext cx="11160124" cy="203133"/>
          </a:xfrm>
        </p:spPr>
        <p:txBody>
          <a:bodyPr anchor="b">
            <a:noAutofit/>
          </a:bodyPr>
          <a:lstStyle>
            <a:lvl1pPr algn="ctr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41757983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2204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3481010"/>
            <a:ext cx="11160125" cy="1182429"/>
          </a:xfrm>
        </p:spPr>
        <p:txBody>
          <a:bodyPr anchor="t"/>
          <a:lstStyle>
            <a:lvl1pPr algn="ctr">
              <a:lnSpc>
                <a:spcPct val="85000"/>
              </a:lnSpc>
              <a:defRPr sz="45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5426349"/>
            <a:ext cx="11160126" cy="194027"/>
          </a:xfrm>
        </p:spPr>
        <p:txBody>
          <a:bodyPr wrap="square">
            <a:noAutofit/>
          </a:bodyPr>
          <a:lstStyle>
            <a:lvl1pPr algn="ctr">
              <a:defRPr sz="1250" b="0" cap="none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>
                <a:sym typeface="WintershallDea" panose="020B0503040000020003" pitchFamily="34" charset="0"/>
              </a:rPr>
              <a:t>City - </a:t>
            </a:r>
            <a:r>
              <a:rPr lang="en-GB">
                <a:sym typeface="WintershallDea" panose="020B0503040000020003" pitchFamily="34" charset="0"/>
              </a:rPr>
              <a:t>00 Month 2022</a:t>
            </a:r>
            <a:endParaRPr lang="en-GB" noProof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5946" y="5226271"/>
            <a:ext cx="11160118" cy="194027"/>
          </a:xfrm>
        </p:spPr>
        <p:txBody>
          <a:bodyPr wrap="square" anchor="b">
            <a:noAutofit/>
          </a:bodyPr>
          <a:lstStyle>
            <a:lvl1pPr algn="ctr">
              <a:defRPr sz="125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uthor Name Surnam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88001" y="635000"/>
            <a:ext cx="1022715" cy="741363"/>
          </a:xfrm>
          <a:blipFill>
            <a:blip r:embed="rId5"/>
            <a:stretch>
              <a:fillRect/>
            </a:stretch>
          </a:blipFill>
        </p:spPr>
        <p:txBody>
          <a:bodyPr vert="horz" wrap="none" lIns="0" tIns="0" rIns="0" bIns="0" rtlCol="0">
            <a:noAutofit/>
          </a:bodyPr>
          <a:lstStyle>
            <a:lvl1pPr>
              <a:defRPr lang="de-DE" sz="100" cap="all" baseline="0" noProof="0" dirty="0">
                <a:noFill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9CE9C88A-51DF-4815-AF78-63B494C1C3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133621"/>
            <a:ext cx="11160124" cy="203133"/>
          </a:xfrm>
        </p:spPr>
        <p:txBody>
          <a:bodyPr anchor="b">
            <a:noAutofit/>
          </a:bodyPr>
          <a:lstStyle>
            <a:lvl1pPr algn="ctr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2965704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51520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88001" y="635000"/>
            <a:ext cx="1022715" cy="741363"/>
          </a:xfrm>
          <a:blipFill>
            <a:blip r:embed="rId5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4166810"/>
            <a:ext cx="11160125" cy="1182429"/>
          </a:xfrm>
        </p:spPr>
        <p:txBody>
          <a:bodyPr anchor="t"/>
          <a:lstStyle>
            <a:lvl1pPr algn="l">
              <a:lnSpc>
                <a:spcPct val="85000"/>
              </a:lnSpc>
              <a:defRPr sz="45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5769249"/>
            <a:ext cx="11160126" cy="194027"/>
          </a:xfrm>
        </p:spPr>
        <p:txBody>
          <a:bodyPr wrap="square">
            <a:noAutofit/>
          </a:bodyPr>
          <a:lstStyle>
            <a:lvl1pPr algn="l">
              <a:defRPr sz="1250" b="0" cap="none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>
                <a:sym typeface="WintershallDea" panose="020B0503040000020003" pitchFamily="34" charset="0"/>
              </a:rPr>
              <a:t>City - </a:t>
            </a:r>
            <a:r>
              <a:rPr lang="en-GB">
                <a:sym typeface="WintershallDea" panose="020B0503040000020003" pitchFamily="34" charset="0"/>
              </a:rPr>
              <a:t>00 Month 2022</a:t>
            </a:r>
            <a:endParaRPr lang="en-GB" noProof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5946" y="5569171"/>
            <a:ext cx="11160118" cy="194027"/>
          </a:xfrm>
        </p:spPr>
        <p:txBody>
          <a:bodyPr wrap="square" anchor="b">
            <a:noAutofit/>
          </a:bodyPr>
          <a:lstStyle>
            <a:lvl1pPr algn="l">
              <a:defRPr sz="125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uthor Name Surname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9CE9C88A-51DF-4815-AF78-63B494C1C3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819421"/>
            <a:ext cx="11160124" cy="203133"/>
          </a:xfrm>
        </p:spPr>
        <p:txBody>
          <a:bodyPr anchor="b">
            <a:noAutofit/>
          </a:bodyPr>
          <a:lstStyle>
            <a:lvl1pPr algn="l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500002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C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2171866-734C-487E-B48C-CFBC794CE5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102100"/>
            <a:ext cx="12192000" cy="27559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18295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3481010"/>
            <a:ext cx="11160125" cy="1182429"/>
          </a:xfrm>
        </p:spPr>
        <p:txBody>
          <a:bodyPr anchor="t"/>
          <a:lstStyle>
            <a:lvl1pPr algn="ctr">
              <a:lnSpc>
                <a:spcPct val="85000"/>
              </a:lnSpc>
              <a:defRPr sz="45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5426349"/>
            <a:ext cx="11160126" cy="194027"/>
          </a:xfrm>
        </p:spPr>
        <p:txBody>
          <a:bodyPr wrap="square">
            <a:noAutofit/>
          </a:bodyPr>
          <a:lstStyle>
            <a:lvl1pPr algn="ctr">
              <a:defRPr sz="1250" b="0" cap="none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>
                <a:sym typeface="WintershallDea" panose="020B0503040000020003" pitchFamily="34" charset="0"/>
              </a:rPr>
              <a:t>City - </a:t>
            </a:r>
            <a:r>
              <a:rPr lang="en-GB">
                <a:sym typeface="WintershallDea" panose="020B0503040000020003" pitchFamily="34" charset="0"/>
              </a:rPr>
              <a:t>00 Month 2022</a:t>
            </a:r>
            <a:endParaRPr lang="en-US" noProof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5946" y="5226271"/>
            <a:ext cx="11160118" cy="194027"/>
          </a:xfrm>
        </p:spPr>
        <p:txBody>
          <a:bodyPr wrap="square" anchor="b">
            <a:noAutofit/>
          </a:bodyPr>
          <a:lstStyle>
            <a:lvl1pPr algn="ctr">
              <a:defRPr sz="125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 Name Surname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9CE9C88A-51DF-4815-AF78-63B494C1C3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133621"/>
            <a:ext cx="11160124" cy="203133"/>
          </a:xfrm>
        </p:spPr>
        <p:txBody>
          <a:bodyPr anchor="b">
            <a:noAutofit/>
          </a:bodyPr>
          <a:lstStyle>
            <a:lvl1pPr algn="ctr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Optional Topli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F7BC203-99B8-4F7A-B280-C1103BCFB95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1" y="635000"/>
            <a:ext cx="1022400" cy="74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358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ETP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0FB0750-E21E-AF44-8AD4-A2A0D61E43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402" t="-7727" r="5781" b="-10454"/>
          <a:stretch/>
        </p:blipFill>
        <p:spPr>
          <a:xfrm>
            <a:off x="0" y="1003772"/>
            <a:ext cx="12192000" cy="5334327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89715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88001" y="635000"/>
            <a:ext cx="1022715" cy="74136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4166810"/>
            <a:ext cx="11160125" cy="1182429"/>
          </a:xfrm>
        </p:spPr>
        <p:txBody>
          <a:bodyPr anchor="t"/>
          <a:lstStyle>
            <a:lvl1pPr algn="ctr">
              <a:lnSpc>
                <a:spcPct val="85000"/>
              </a:lnSpc>
              <a:defRPr sz="45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5769249"/>
            <a:ext cx="11160126" cy="194027"/>
          </a:xfrm>
        </p:spPr>
        <p:txBody>
          <a:bodyPr wrap="square">
            <a:noAutofit/>
          </a:bodyPr>
          <a:lstStyle>
            <a:lvl1pPr algn="ctr">
              <a:defRPr sz="1250" b="0" cap="none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>
                <a:sym typeface="WintershallDea" panose="020B0503040000020003" pitchFamily="34" charset="0"/>
              </a:rPr>
              <a:t>City - </a:t>
            </a:r>
            <a:r>
              <a:rPr lang="en-GB">
                <a:sym typeface="WintershallDea" panose="020B0503040000020003" pitchFamily="34" charset="0"/>
              </a:rPr>
              <a:t>00 Month 2022</a:t>
            </a:r>
            <a:endParaRPr lang="en-GB" noProof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5946" y="5569171"/>
            <a:ext cx="11160118" cy="194027"/>
          </a:xfrm>
        </p:spPr>
        <p:txBody>
          <a:bodyPr wrap="square" anchor="b">
            <a:noAutofit/>
          </a:bodyPr>
          <a:lstStyle>
            <a:lvl1pPr algn="ctr">
              <a:defRPr sz="125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uthor Name Surname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9CE9C88A-51DF-4815-AF78-63B494C1C3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819421"/>
            <a:ext cx="11160124" cy="203133"/>
          </a:xfrm>
        </p:spPr>
        <p:txBody>
          <a:bodyPr anchor="b">
            <a:noAutofit/>
          </a:bodyPr>
          <a:lstStyle>
            <a:lvl1pPr algn="ctr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</a:t>
            </a:r>
            <a:r>
              <a:rPr lang="en-GB" noProof="0" err="1"/>
              <a:t>Top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16904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0615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5438" y="2241550"/>
            <a:ext cx="10080625" cy="4103687"/>
          </a:xfrm>
        </p:spPr>
        <p:txBody>
          <a:bodyPr/>
          <a:lstStyle>
            <a:lvl1pPr marL="450850" indent="-4508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2400" baseline="0">
                <a:solidFill>
                  <a:schemeClr val="tx2"/>
                </a:solidFill>
                <a:latin typeface="+mn-lt"/>
                <a:sym typeface="WintershallDea" panose="020B0503040000020003" pitchFamily="34" charset="0"/>
              </a:defRPr>
            </a:lvl1pPr>
            <a:lvl2pPr marL="628650" indent="-17938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tershallDea Office" panose="020B0503040000020003" pitchFamily="34" charset="0"/>
              <a:buChar char="›"/>
              <a:defRPr sz="15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5pPr>
          </a:lstStyle>
          <a:p>
            <a:pPr lvl="0"/>
            <a:r>
              <a:rPr lang="en-GB" noProof="0"/>
              <a:t>Agenda Topic 1</a:t>
            </a:r>
          </a:p>
          <a:p>
            <a:pPr lvl="1"/>
            <a:r>
              <a:rPr lang="en-GB" noProof="0"/>
              <a:t>Subitem 1</a:t>
            </a:r>
          </a:p>
          <a:p>
            <a:pPr lvl="1"/>
            <a:r>
              <a:rPr lang="en-GB" noProof="0"/>
              <a:t>Subitem 2</a:t>
            </a:r>
          </a:p>
          <a:p>
            <a:pPr lvl="1"/>
            <a:r>
              <a:rPr lang="en-GB" noProof="0"/>
              <a:t>Subitem 3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ABFB6CD-FBB9-448C-8695-83B9DBB58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Agenda Text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2A17815A-D410-470B-88CB-5CC1601A0A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4176017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10837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3055620"/>
            <a:ext cx="5130482" cy="3289617"/>
          </a:xfrm>
        </p:spPr>
        <p:txBody>
          <a:bodyPr/>
          <a:lstStyle>
            <a:lvl1pPr marL="1612900" indent="-1612900">
              <a:lnSpc>
                <a:spcPct val="110000"/>
              </a:lnSpc>
              <a:spcBef>
                <a:spcPts val="3000"/>
              </a:spcBef>
              <a:spcAft>
                <a:spcPts val="0"/>
              </a:spcAft>
              <a:buSzPct val="100000"/>
              <a:buFont typeface="+mj-lt"/>
              <a:buNone/>
              <a:defRPr sz="1250" b="1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  <a:lvl2pPr marL="161290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5pPr>
          </a:lstStyle>
          <a:p>
            <a:pPr lvl="0"/>
            <a:r>
              <a:rPr lang="en-GB" noProof="0"/>
              <a:t>0.00 – 0.00	Topic</a:t>
            </a:r>
          </a:p>
          <a:p>
            <a:pPr lvl="1"/>
            <a:r>
              <a:rPr lang="en-GB" noProof="0"/>
              <a:t>Tex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ABFB6CD-FBB9-448C-8695-83B9DBB58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620713"/>
            <a:ext cx="6948486" cy="755650"/>
          </a:xfrm>
        </p:spPr>
        <p:txBody>
          <a:bodyPr/>
          <a:lstStyle/>
          <a:p>
            <a:r>
              <a:rPr lang="en-GB" noProof="0"/>
              <a:t>Click to edit Agenda Tex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362F19-A28D-4864-92E0-9F0B22C512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2220215"/>
            <a:ext cx="5130482" cy="322642"/>
          </a:xfrm>
        </p:spPr>
        <p:txBody>
          <a:bodyPr/>
          <a:lstStyle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Day, Date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1DD101C-25B6-4268-B65A-4D4EF058A421}"/>
              </a:ext>
            </a:extLst>
          </p:cNvPr>
          <p:cNvCxnSpPr>
            <a:cxnSpLocks/>
          </p:cNvCxnSpPr>
          <p:nvPr userDrawn="1"/>
        </p:nvCxnSpPr>
        <p:spPr>
          <a:xfrm>
            <a:off x="515938" y="2628582"/>
            <a:ext cx="513048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5BD2E55-2C75-4155-BBBD-4AAA16FD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03951" y="3055620"/>
            <a:ext cx="5130482" cy="3289617"/>
          </a:xfrm>
        </p:spPr>
        <p:txBody>
          <a:bodyPr/>
          <a:lstStyle>
            <a:lvl1pPr marL="1612900" indent="-1612900">
              <a:lnSpc>
                <a:spcPct val="110000"/>
              </a:lnSpc>
              <a:spcBef>
                <a:spcPts val="3000"/>
              </a:spcBef>
              <a:spcAft>
                <a:spcPts val="0"/>
              </a:spcAft>
              <a:buSzPct val="100000"/>
              <a:buFont typeface="+mj-lt"/>
              <a:buNone/>
              <a:defRPr sz="1250" b="1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  <a:lvl2pPr marL="161290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5pPr>
          </a:lstStyle>
          <a:p>
            <a:pPr lvl="0"/>
            <a:r>
              <a:rPr lang="en-GB" noProof="0"/>
              <a:t>0.00 – 0.00	Topic</a:t>
            </a:r>
          </a:p>
          <a:p>
            <a:pPr lvl="1"/>
            <a:r>
              <a:rPr lang="en-GB" noProof="0"/>
              <a:t>Text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4F5C1F2-3788-4678-BA34-2621F6B282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950" y="2220215"/>
            <a:ext cx="5130482" cy="322642"/>
          </a:xfrm>
        </p:spPr>
        <p:txBody>
          <a:bodyPr/>
          <a:lstStyle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Day, Date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56B17749-F0FA-47E5-A74D-651C7E07E57E}"/>
              </a:ext>
            </a:extLst>
          </p:cNvPr>
          <p:cNvCxnSpPr>
            <a:cxnSpLocks/>
          </p:cNvCxnSpPr>
          <p:nvPr userDrawn="1"/>
        </p:nvCxnSpPr>
        <p:spPr>
          <a:xfrm>
            <a:off x="6203950" y="2628582"/>
            <a:ext cx="513048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1719903-3DCA-43DC-9685-83111A4FAE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89064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7665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5438" y="2241550"/>
            <a:ext cx="5868987" cy="4103687"/>
          </a:xfrm>
        </p:spPr>
        <p:txBody>
          <a:bodyPr/>
          <a:lstStyle>
            <a:lvl1pPr marL="1612900" indent="-1612900">
              <a:lnSpc>
                <a:spcPct val="110000"/>
              </a:lnSpc>
              <a:spcBef>
                <a:spcPts val="3000"/>
              </a:spcBef>
              <a:spcAft>
                <a:spcPts val="0"/>
              </a:spcAft>
              <a:buSzPct val="100000"/>
              <a:buFont typeface="+mj-lt"/>
              <a:buNone/>
              <a:defRPr sz="1250" b="1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  <a:lvl2pPr marL="161290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WintershallDea Office" panose="00000600000000000000" pitchFamily="50" charset="0"/>
              </a:defRPr>
            </a:lvl5pPr>
          </a:lstStyle>
          <a:p>
            <a:pPr lvl="0"/>
            <a:r>
              <a:rPr lang="en-GB" noProof="0"/>
              <a:t>0.00 – 0.00	Topic</a:t>
            </a:r>
          </a:p>
          <a:p>
            <a:pPr lvl="1"/>
            <a:r>
              <a:rPr lang="en-GB" noProof="0"/>
              <a:t>Tex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ABFB6CD-FBB9-448C-8695-83B9DBB58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620713"/>
            <a:ext cx="6948486" cy="755650"/>
          </a:xfrm>
        </p:spPr>
        <p:txBody>
          <a:bodyPr/>
          <a:lstStyle/>
          <a:p>
            <a:r>
              <a:rPr lang="en-GB" noProof="0"/>
              <a:t>Click to edit Agenda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F57BA908-F6C8-4E77-93B9-3FC53E1B5C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680324" y="0"/>
            <a:ext cx="4511675" cy="6858000"/>
          </a:xfrm>
          <a:solidFill>
            <a:schemeClr val="bg1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D710F807-2E37-43EB-AECE-CE3A94A733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4188913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0712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773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4174459"/>
            <a:ext cx="6948487" cy="1868201"/>
          </a:xfrm>
        </p:spPr>
        <p:txBody>
          <a:bodyPr anchor="t"/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78699" y="631349"/>
            <a:ext cx="634604" cy="458788"/>
          </a:xfrm>
          <a:blipFill>
            <a:blip r:embed="rId5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E7D39B9F-CA90-4763-846E-FBCEEABAEC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788941"/>
            <a:ext cx="6948485" cy="203133"/>
          </a:xfrm>
        </p:spPr>
        <p:txBody>
          <a:bodyPr anchor="b">
            <a:noAutofit/>
          </a:bodyPr>
          <a:lstStyle>
            <a:lvl1pPr algn="l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381819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 without 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79557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7" y="4174459"/>
            <a:ext cx="6948487" cy="1868201"/>
          </a:xfrm>
        </p:spPr>
        <p:txBody>
          <a:bodyPr anchor="t"/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E7D39B9F-CA90-4763-846E-FBCEEABAEC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3788941"/>
            <a:ext cx="6948485" cy="203133"/>
          </a:xfrm>
        </p:spPr>
        <p:txBody>
          <a:bodyPr anchor="b">
            <a:noAutofit/>
          </a:bodyPr>
          <a:lstStyle>
            <a:lvl1pPr algn="l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34926646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7547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8" y="1255999"/>
            <a:ext cx="6948487" cy="1868201"/>
          </a:xfrm>
        </p:spPr>
        <p:txBody>
          <a:bodyPr anchor="t"/>
          <a:lstStyle>
            <a:lvl1pPr algn="l">
              <a:lnSpc>
                <a:spcPct val="85000"/>
              </a:lnSpc>
              <a:defRPr sz="44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98B70B6A-25DE-4E96-96CA-60FF61B213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870481"/>
            <a:ext cx="6948486" cy="203133"/>
          </a:xfrm>
        </p:spPr>
        <p:txBody>
          <a:bodyPr anchor="b">
            <a:no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15F71DD0-4511-4B25-B220-FAEF25D873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78699" y="5888832"/>
            <a:ext cx="634604" cy="458788"/>
          </a:xfrm>
          <a:blipFill>
            <a:blip r:embed="rId5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285563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 without 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635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8" y="1255999"/>
            <a:ext cx="6948487" cy="1868201"/>
          </a:xfrm>
        </p:spPr>
        <p:txBody>
          <a:bodyPr anchor="t"/>
          <a:lstStyle>
            <a:lvl1pPr algn="l">
              <a:lnSpc>
                <a:spcPct val="85000"/>
              </a:lnSpc>
              <a:defRPr sz="44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98B70B6A-25DE-4E96-96CA-60FF61B213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39" y="870481"/>
            <a:ext cx="6948486" cy="203133"/>
          </a:xfrm>
        </p:spPr>
        <p:txBody>
          <a:bodyPr anchor="b">
            <a:no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5793166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535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9" y="3470082"/>
            <a:ext cx="6648448" cy="2875156"/>
          </a:xfrm>
        </p:spPr>
        <p:txBody>
          <a:bodyPr/>
          <a:lstStyle>
            <a:lvl1pPr algn="ctr">
              <a:lnSpc>
                <a:spcPct val="90000"/>
              </a:lnSpc>
              <a:defRPr sz="38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3149204"/>
            <a:ext cx="6648446" cy="139654"/>
          </a:xfrm>
        </p:spPr>
        <p:txBody>
          <a:bodyPr wrap="square" anchor="b">
            <a:spAutoFit/>
          </a:bodyPr>
          <a:lstStyle>
            <a:lvl1pPr algn="ctr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680324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667" y="635618"/>
            <a:ext cx="635092" cy="45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534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83462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9" y="4178742"/>
            <a:ext cx="6648445" cy="2166496"/>
          </a:xfrm>
        </p:spPr>
        <p:txBody>
          <a:bodyPr/>
          <a:lstStyle>
            <a:lvl1pPr algn="l">
              <a:lnSpc>
                <a:spcPct val="84000"/>
              </a:lnSpc>
              <a:defRPr sz="46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3850244"/>
            <a:ext cx="6648446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680324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667" y="635618"/>
            <a:ext cx="635092" cy="45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01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3190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39" y="2647122"/>
            <a:ext cx="6648445" cy="1537528"/>
          </a:xfrm>
        </p:spPr>
        <p:txBody>
          <a:bodyPr/>
          <a:lstStyle>
            <a:lvl1pPr algn="l">
              <a:lnSpc>
                <a:spcPct val="90000"/>
              </a:lnSpc>
              <a:defRPr sz="38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2333864"/>
            <a:ext cx="6648446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680324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667" y="635618"/>
            <a:ext cx="635092" cy="459758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4D329-0BDD-45AF-A470-43A502ED85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601845"/>
            <a:ext cx="3995737" cy="1743393"/>
          </a:xfrm>
        </p:spPr>
        <p:txBody>
          <a:bodyPr/>
          <a:lstStyle/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9922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 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9213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40" y="4155882"/>
            <a:ext cx="3995735" cy="2189356"/>
          </a:xfrm>
        </p:spPr>
        <p:txBody>
          <a:bodyPr/>
          <a:lstStyle>
            <a:lvl1pPr algn="l">
              <a:lnSpc>
                <a:spcPct val="90000"/>
              </a:lnSpc>
              <a:defRPr sz="3600" cap="none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3842624"/>
            <a:ext cx="3995737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27576" y="0"/>
            <a:ext cx="7464424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482" y="635618"/>
            <a:ext cx="635092" cy="45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2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 5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6114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15940" y="2647122"/>
            <a:ext cx="3995735" cy="1537528"/>
          </a:xfrm>
        </p:spPr>
        <p:txBody>
          <a:bodyPr/>
          <a:lstStyle>
            <a:lvl1pPr algn="l">
              <a:lnSpc>
                <a:spcPct val="90000"/>
              </a:lnSpc>
              <a:defRPr sz="3600" cap="none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2333864"/>
            <a:ext cx="3995737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27576" y="0"/>
            <a:ext cx="7464424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482" y="635618"/>
            <a:ext cx="635092" cy="459758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4D329-0BDD-45AF-A470-43A502ED85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457701"/>
            <a:ext cx="3995737" cy="1887538"/>
          </a:xfrm>
        </p:spPr>
        <p:txBody>
          <a:bodyPr/>
          <a:lstStyle/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88495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925589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027612" y="3470082"/>
            <a:ext cx="6648452" cy="2166496"/>
          </a:xfrm>
        </p:spPr>
        <p:txBody>
          <a:bodyPr/>
          <a:lstStyle>
            <a:lvl1pPr algn="ctr">
              <a:lnSpc>
                <a:spcPct val="90000"/>
              </a:lnSpc>
              <a:defRPr sz="3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027611" y="3149204"/>
            <a:ext cx="6648452" cy="139654"/>
          </a:xfrm>
        </p:spPr>
        <p:txBody>
          <a:bodyPr wrap="square" anchor="b">
            <a:spAutoFit/>
          </a:bodyPr>
          <a:lstStyle>
            <a:lvl1pPr algn="ctr"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4885D8D-C3C6-4078-B087-8725032E0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291" y="635618"/>
            <a:ext cx="636531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33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698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25244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308920" y="4178742"/>
            <a:ext cx="6367144" cy="2166496"/>
          </a:xfrm>
        </p:spPr>
        <p:txBody>
          <a:bodyPr/>
          <a:lstStyle>
            <a:lvl1pPr algn="l">
              <a:lnSpc>
                <a:spcPct val="84000"/>
              </a:lnSpc>
              <a:defRPr sz="46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08918" y="3850244"/>
            <a:ext cx="6367145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291" y="635618"/>
            <a:ext cx="635092" cy="45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183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7464424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79231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7680327" y="4155882"/>
            <a:ext cx="3995735" cy="2189356"/>
          </a:xfrm>
        </p:spPr>
        <p:txBody>
          <a:bodyPr/>
          <a:lstStyle>
            <a:lvl1pPr algn="l">
              <a:lnSpc>
                <a:spcPct val="90000"/>
              </a:lnSpc>
              <a:defRPr sz="3600" cap="none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680325" y="3842624"/>
            <a:ext cx="3995737" cy="139654"/>
          </a:xfrm>
        </p:spPr>
        <p:txBody>
          <a:bodyPr wrap="square" anchor="b">
            <a:spAutoFit/>
          </a:bodyPr>
          <a:lstStyle>
            <a:lvl1pPr algn="l"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730FCF2-C80F-44DA-8C13-46D487405F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046" y="635618"/>
            <a:ext cx="635092" cy="45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7715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33732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376363"/>
            <a:ext cx="3564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14001" y="1376362"/>
            <a:ext cx="3564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12063" y="1376362"/>
            <a:ext cx="3564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92DE404B-5853-4671-9811-C048897AB1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1CB2F6B-02CF-4C24-A5F1-49F4D0113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C73C942-C6EA-4302-8FE4-1833BD605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9" y="4328478"/>
            <a:ext cx="3564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76B088A9-2774-48BC-B941-0EAB0553BB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001" y="4328478"/>
            <a:ext cx="3564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EBBA8C6-4C70-49E7-80F9-F539A8D583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2063" y="4328478"/>
            <a:ext cx="3564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204974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 B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6368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376363"/>
            <a:ext cx="2628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59980" y="1376362"/>
            <a:ext cx="2628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4022" y="1376362"/>
            <a:ext cx="2628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92DE404B-5853-4671-9811-C048897AB1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1CB2F6B-02CF-4C24-A5F1-49F4D0113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22" name="Bildplatzhalter 15">
            <a:extLst>
              <a:ext uri="{FF2B5EF4-FFF2-40B4-BE49-F238E27FC236}">
                <a16:creationId xmlns:a16="http://schemas.microsoft.com/office/drawing/2014/main" id="{373D61AD-E933-4F18-A0CC-1A6F930317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048063" y="1376362"/>
            <a:ext cx="2628000" cy="2808287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C73C942-C6EA-4302-8FE4-1833BD605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9" y="4328478"/>
            <a:ext cx="2628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76B088A9-2774-48BC-B941-0EAB0553BB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59980" y="4328478"/>
            <a:ext cx="2628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EBBA8C6-4C70-49E7-80F9-F539A8D583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4022" y="4328478"/>
            <a:ext cx="2628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60506543-ACD1-44B7-A676-3A3EF82872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48063" y="4328478"/>
            <a:ext cx="2628000" cy="201676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182563" indent="-176213">
              <a:defRPr/>
            </a:lvl3pPr>
            <a:lvl4pPr marL="358775" indent="-180975">
              <a:defRPr/>
            </a:lvl4pPr>
            <a:lvl5pPr marL="541338" indent="-176213">
              <a:defRPr/>
            </a:lvl5pPr>
          </a:lstStyle>
          <a:p>
            <a:pPr lvl="0"/>
            <a:r>
              <a:rPr lang="en-GB" noProof="0"/>
              <a:t>Headline</a:t>
            </a:r>
          </a:p>
          <a:p>
            <a:pPr lvl="1"/>
            <a:r>
              <a:rPr lang="en-GB" noProof="0"/>
              <a:t>Copytext</a:t>
            </a:r>
          </a:p>
          <a:p>
            <a:pPr lvl="2"/>
            <a:r>
              <a:rPr lang="en-GB" noProof="0"/>
              <a:t>Bullet</a:t>
            </a:r>
          </a:p>
          <a:p>
            <a:pPr lvl="3"/>
            <a:r>
              <a:rPr lang="en-GB" noProof="0"/>
              <a:t>Bullet</a:t>
            </a:r>
          </a:p>
          <a:p>
            <a:pPr lvl="4"/>
            <a:r>
              <a:rPr lang="en-GB" noProof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902756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281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40" y="2241550"/>
            <a:ext cx="6948486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B3AEC-0CE4-4C2C-9D2D-E17FA20F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2818929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(blue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281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bg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40" y="2241550"/>
            <a:ext cx="6948486" cy="410368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B3AEC-0CE4-4C2C-9D2D-E17FA20F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9214428-F4C8-40B9-8C4F-E87088CA5B73}"/>
              </a:ext>
            </a:extLst>
          </p:cNvPr>
          <p:cNvSpPr txBox="1"/>
          <p:nvPr userDrawn="1"/>
        </p:nvSpPr>
        <p:spPr bwMode="gray"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bg1"/>
                </a:solidFill>
              </a:rPr>
              <a:t>‹#›</a:t>
            </a:fld>
            <a:endParaRPr lang="en-GB" sz="1000" noProof="0">
              <a:solidFill>
                <a:schemeClr val="bg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299699E-FC3F-6042-9FAD-578C86F03088}"/>
              </a:ext>
            </a:extLst>
          </p:cNvPr>
          <p:cNvSpPr txBox="1"/>
          <p:nvPr userDrawn="1"/>
        </p:nvSpPr>
        <p:spPr bwMode="gray">
          <a:xfrm>
            <a:off x="515938" y="6434491"/>
            <a:ext cx="1022350" cy="217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b="1" noProof="1">
                <a:solidFill>
                  <a:schemeClr val="bg1"/>
                </a:solidFill>
              </a:rPr>
              <a:t>Wintershall De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noProof="0">
                <a:solidFill>
                  <a:schemeClr val="bg1"/>
                </a:solidFill>
              </a:rPr>
              <a:t>00 Month 22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D73C6EB-824F-264B-B93D-62024A5B65E4}"/>
              </a:ext>
            </a:extLst>
          </p:cNvPr>
          <p:cNvSpPr txBox="1"/>
          <p:nvPr userDrawn="1"/>
        </p:nvSpPr>
        <p:spPr bwMode="gray">
          <a:xfrm>
            <a:off x="1595437" y="6434491"/>
            <a:ext cx="5868987" cy="217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b="1" noProof="0">
                <a:solidFill>
                  <a:schemeClr val="bg1"/>
                </a:solidFill>
              </a:rPr>
              <a:t>Title of presentat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noProof="0">
                <a:solidFill>
                  <a:schemeClr val="bg1"/>
                </a:solidFill>
              </a:rPr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90133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1714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40" y="2241550"/>
            <a:ext cx="5472110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B3AEC-0CE4-4C2C-9D2D-E17FA20F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89E5419F-149E-4583-8FC3-36D19D3C2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3" y="2241550"/>
            <a:ext cx="5472110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7133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96967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27575" y="620713"/>
            <a:ext cx="6948488" cy="572452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8" y="2241550"/>
            <a:ext cx="3995737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74B3D6-D966-4D06-98BE-91A12C8F5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620713"/>
            <a:ext cx="3995736" cy="755650"/>
          </a:xfrm>
        </p:spPr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95440382-00BB-415B-BC49-2FB7D5CD52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3546692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blue)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37302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27575" y="620713"/>
            <a:ext cx="6948488" cy="5724525"/>
          </a:xfrm>
          <a:solidFill>
            <a:schemeClr val="bg1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8" y="3460750"/>
            <a:ext cx="3995737" cy="28844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74B3D6-D966-4D06-98BE-91A12C8F5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2276475"/>
            <a:ext cx="3995736" cy="755650"/>
          </a:xfrm>
        </p:spPr>
        <p:txBody>
          <a:bodyPr/>
          <a:lstStyle/>
          <a:p>
            <a:r>
              <a:rPr lang="en-GB" noProof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128013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628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7" y="620713"/>
            <a:ext cx="6948488" cy="572452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80325" y="2241550"/>
            <a:ext cx="3995736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74B3D6-D966-4D06-98BE-91A12C8F5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325" y="620713"/>
            <a:ext cx="3995736" cy="755650"/>
          </a:xfrm>
        </p:spPr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78C9A2A4-3A0D-4370-849E-0964E860ED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680325" y="305520"/>
            <a:ext cx="3995738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04892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6497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2 (blue)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2183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8" y="620713"/>
            <a:ext cx="6948488" cy="5724525"/>
          </a:xfrm>
          <a:solidFill>
            <a:schemeClr val="bg1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80326" y="3460750"/>
            <a:ext cx="3995738" cy="28844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74B3D6-D966-4D06-98BE-91A12C8F5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326" y="2276475"/>
            <a:ext cx="3995737" cy="755650"/>
          </a:xfrm>
        </p:spPr>
        <p:txBody>
          <a:bodyPr/>
          <a:lstStyle/>
          <a:p>
            <a:r>
              <a:rPr lang="en-GB" noProof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2961032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4C7F0093-6EE1-4E2C-A47F-76CE7C8E18E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80325" y="0"/>
            <a:ext cx="4511675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90516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6948486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40" y="2241550"/>
            <a:ext cx="3366000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B3AEC-0CE4-4C2C-9D2D-E17FA20F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620713"/>
            <a:ext cx="6948486" cy="414799"/>
          </a:xfrm>
        </p:spPr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BE8363C1-429C-4FF1-A061-10CB382DF3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98425" y="2241550"/>
            <a:ext cx="3366000" cy="41036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524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97162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C86F64E-52DE-4B1D-9774-7F2A818F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A2851F69-28CF-4D96-86A6-247E96A4B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4105454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OUT 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4A97F375-AEE4-3B46-BBE2-AF932CDD31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345238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8DEAEE-F5BD-4B84-A19B-1FEDBC0028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89462D64-46DD-4916-B15C-210327207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73778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s WITHOUT 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E6253328-C9BD-BD4D-86AD-A52DA54123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8" y="1376362"/>
            <a:ext cx="5472112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75EF613-8D0F-8448-9C0E-F6F06E7754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9" y="1376362"/>
            <a:ext cx="5472113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D79587-97B8-421B-994A-EF57B83F18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70658519-156A-4B13-BD78-F920F05C5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256137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s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E6253328-C9BD-BD4D-86AD-A52DA54123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8" y="1376362"/>
            <a:ext cx="3995737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75EF613-8D0F-8448-9C0E-F6F06E7754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27575" y="1376362"/>
            <a:ext cx="6948487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D79587-97B8-421B-994A-EF57B83F18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70658519-156A-4B13-BD78-F920F05C5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728447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s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E6253328-C9BD-BD4D-86AD-A52DA54123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8" y="1376362"/>
            <a:ext cx="6948487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75EF613-8D0F-8448-9C0E-F6F06E7754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80325" y="1376362"/>
            <a:ext cx="3995737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D79587-97B8-421B-994A-EF57B83F18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70658519-156A-4B13-BD78-F920F05C5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644404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s 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E6253328-C9BD-BD4D-86AD-A52DA54123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5939" y="1376362"/>
            <a:ext cx="3564000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75EF613-8D0F-8448-9C0E-F6F06E7754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314000" y="1376362"/>
            <a:ext cx="3564000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D79587-97B8-421B-994A-EF57B83F18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70658519-156A-4B13-BD78-F920F05C5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305520"/>
            <a:ext cx="11160124" cy="203133"/>
          </a:xfrm>
        </p:spPr>
        <p:txBody>
          <a:bodyPr anchor="b">
            <a:noAutofit/>
          </a:bodyPr>
          <a:lstStyle>
            <a:lvl1pPr>
              <a:defRPr sz="900" b="1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Optional Topline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AE140E7A-FF8D-48A5-97DA-81F056CA85E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061" y="1376361"/>
            <a:ext cx="3564000" cy="49688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436745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66147017-D3C5-4396-93E2-488451527E41}"/>
              </a:ext>
            </a:extLst>
          </p:cNvPr>
          <p:cNvSpPr/>
          <p:nvPr/>
        </p:nvSpPr>
        <p:spPr>
          <a:xfrm>
            <a:off x="5522689" y="3286155"/>
            <a:ext cx="563786" cy="452407"/>
          </a:xfrm>
          <a:custGeom>
            <a:avLst/>
            <a:gdLst>
              <a:gd name="connsiteX0" fmla="*/ 2962942 w 3373565"/>
              <a:gd name="connsiteY0" fmla="*/ 0 h 2707101"/>
              <a:gd name="connsiteX1" fmla="*/ 3010567 w 3373565"/>
              <a:gd name="connsiteY1" fmla="*/ 0 h 2707101"/>
              <a:gd name="connsiteX2" fmla="*/ 3278315 w 3373565"/>
              <a:gd name="connsiteY2" fmla="*/ 95250 h 2707101"/>
              <a:gd name="connsiteX3" fmla="*/ 3373565 w 3373565"/>
              <a:gd name="connsiteY3" fmla="*/ 345091 h 2707101"/>
              <a:gd name="connsiteX4" fmla="*/ 3343847 w 3373565"/>
              <a:gd name="connsiteY4" fmla="*/ 511683 h 2707101"/>
              <a:gd name="connsiteX5" fmla="*/ 2701386 w 3373565"/>
              <a:gd name="connsiteY5" fmla="*/ 2373726 h 2707101"/>
              <a:gd name="connsiteX6" fmla="*/ 2249234 w 3373565"/>
              <a:gd name="connsiteY6" fmla="*/ 2707101 h 2707101"/>
              <a:gd name="connsiteX7" fmla="*/ 2207610 w 3373565"/>
              <a:gd name="connsiteY7" fmla="*/ 2707101 h 2707101"/>
              <a:gd name="connsiteX8" fmla="*/ 1966437 w 3373565"/>
              <a:gd name="connsiteY8" fmla="*/ 2605945 h 2707101"/>
              <a:gd name="connsiteX9" fmla="*/ 1874235 w 3373565"/>
              <a:gd name="connsiteY9" fmla="*/ 2350199 h 2707101"/>
              <a:gd name="connsiteX10" fmla="*/ 1897666 w 3373565"/>
              <a:gd name="connsiteY10" fmla="*/ 2201133 h 2707101"/>
              <a:gd name="connsiteX11" fmla="*/ 2516791 w 3373565"/>
              <a:gd name="connsiteY11" fmla="*/ 339186 h 2707101"/>
              <a:gd name="connsiteX12" fmla="*/ 2962942 w 3373565"/>
              <a:gd name="connsiteY12" fmla="*/ 0 h 2707101"/>
              <a:gd name="connsiteX13" fmla="*/ 1089088 w 3373565"/>
              <a:gd name="connsiteY13" fmla="*/ 0 h 2707101"/>
              <a:gd name="connsiteX14" fmla="*/ 1136713 w 3373565"/>
              <a:gd name="connsiteY14" fmla="*/ 0 h 2707101"/>
              <a:gd name="connsiteX15" fmla="*/ 1404366 w 3373565"/>
              <a:gd name="connsiteY15" fmla="*/ 95250 h 2707101"/>
              <a:gd name="connsiteX16" fmla="*/ 1499616 w 3373565"/>
              <a:gd name="connsiteY16" fmla="*/ 345091 h 2707101"/>
              <a:gd name="connsiteX17" fmla="*/ 1469898 w 3373565"/>
              <a:gd name="connsiteY17" fmla="*/ 511683 h 2707101"/>
              <a:gd name="connsiteX18" fmla="*/ 827437 w 3373565"/>
              <a:gd name="connsiteY18" fmla="*/ 2373726 h 2707101"/>
              <a:gd name="connsiteX19" fmla="*/ 375285 w 3373565"/>
              <a:gd name="connsiteY19" fmla="*/ 2707101 h 2707101"/>
              <a:gd name="connsiteX20" fmla="*/ 333660 w 3373565"/>
              <a:gd name="connsiteY20" fmla="*/ 2707101 h 2707101"/>
              <a:gd name="connsiteX21" fmla="*/ 333184 w 3373565"/>
              <a:gd name="connsiteY21" fmla="*/ 2706815 h 2707101"/>
              <a:gd name="connsiteX22" fmla="*/ 92202 w 3373565"/>
              <a:gd name="connsiteY22" fmla="*/ 2605660 h 2707101"/>
              <a:gd name="connsiteX23" fmla="*/ 0 w 3373565"/>
              <a:gd name="connsiteY23" fmla="*/ 2349913 h 2707101"/>
              <a:gd name="connsiteX24" fmla="*/ 23812 w 3373565"/>
              <a:gd name="connsiteY24" fmla="*/ 2201133 h 2707101"/>
              <a:gd name="connsiteX25" fmla="*/ 642937 w 3373565"/>
              <a:gd name="connsiteY25" fmla="*/ 339186 h 2707101"/>
              <a:gd name="connsiteX26" fmla="*/ 1089088 w 3373565"/>
              <a:gd name="connsiteY26" fmla="*/ 0 h 270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73565" h="2707101">
                <a:moveTo>
                  <a:pt x="2962942" y="0"/>
                </a:moveTo>
                <a:lnTo>
                  <a:pt x="3010567" y="0"/>
                </a:lnTo>
                <a:cubicBezTo>
                  <a:pt x="3125562" y="0"/>
                  <a:pt x="3214812" y="31747"/>
                  <a:pt x="3278315" y="95250"/>
                </a:cubicBezTo>
                <a:cubicBezTo>
                  <a:pt x="3341818" y="158754"/>
                  <a:pt x="3373565" y="242031"/>
                  <a:pt x="3373565" y="345091"/>
                </a:cubicBezTo>
                <a:cubicBezTo>
                  <a:pt x="3373565" y="388716"/>
                  <a:pt x="3363659" y="444247"/>
                  <a:pt x="3343847" y="511683"/>
                </a:cubicBezTo>
                <a:lnTo>
                  <a:pt x="2701386" y="2373726"/>
                </a:lnTo>
                <a:cubicBezTo>
                  <a:pt x="2633882" y="2595973"/>
                  <a:pt x="2483168" y="2707101"/>
                  <a:pt x="2249234" y="2707101"/>
                </a:cubicBezTo>
                <a:lnTo>
                  <a:pt x="2207610" y="2707101"/>
                </a:lnTo>
                <a:cubicBezTo>
                  <a:pt x="2108293" y="2707101"/>
                  <a:pt x="2027902" y="2673382"/>
                  <a:pt x="1966437" y="2605945"/>
                </a:cubicBezTo>
                <a:cubicBezTo>
                  <a:pt x="1904972" y="2538508"/>
                  <a:pt x="1874235" y="2453260"/>
                  <a:pt x="1874235" y="2350199"/>
                </a:cubicBezTo>
                <a:cubicBezTo>
                  <a:pt x="1874235" y="2322453"/>
                  <a:pt x="1882045" y="2272761"/>
                  <a:pt x="1897666" y="2201133"/>
                </a:cubicBezTo>
                <a:lnTo>
                  <a:pt x="2516791" y="339186"/>
                </a:lnTo>
                <a:cubicBezTo>
                  <a:pt x="2580104" y="113062"/>
                  <a:pt x="2728818" y="0"/>
                  <a:pt x="2962942" y="0"/>
                </a:cubicBezTo>
                <a:close/>
                <a:moveTo>
                  <a:pt x="1089088" y="0"/>
                </a:moveTo>
                <a:lnTo>
                  <a:pt x="1136713" y="0"/>
                </a:lnTo>
                <a:cubicBezTo>
                  <a:pt x="1251651" y="0"/>
                  <a:pt x="1340863" y="31747"/>
                  <a:pt x="1404366" y="95250"/>
                </a:cubicBezTo>
                <a:cubicBezTo>
                  <a:pt x="1467869" y="158754"/>
                  <a:pt x="1499616" y="242031"/>
                  <a:pt x="1499616" y="345091"/>
                </a:cubicBezTo>
                <a:cubicBezTo>
                  <a:pt x="1499616" y="388716"/>
                  <a:pt x="1489710" y="444247"/>
                  <a:pt x="1469898" y="511683"/>
                </a:cubicBezTo>
                <a:lnTo>
                  <a:pt x="827437" y="2373726"/>
                </a:lnTo>
                <a:cubicBezTo>
                  <a:pt x="760000" y="2595973"/>
                  <a:pt x="609286" y="2707101"/>
                  <a:pt x="375285" y="2707101"/>
                </a:cubicBezTo>
                <a:lnTo>
                  <a:pt x="333660" y="2707101"/>
                </a:lnTo>
                <a:lnTo>
                  <a:pt x="333184" y="2706815"/>
                </a:lnTo>
                <a:cubicBezTo>
                  <a:pt x="234000" y="2706815"/>
                  <a:pt x="153667" y="2673097"/>
                  <a:pt x="92202" y="2605660"/>
                </a:cubicBezTo>
                <a:cubicBezTo>
                  <a:pt x="30737" y="2538223"/>
                  <a:pt x="0" y="2452974"/>
                  <a:pt x="0" y="2349913"/>
                </a:cubicBezTo>
                <a:cubicBezTo>
                  <a:pt x="0" y="2322167"/>
                  <a:pt x="7934" y="2272570"/>
                  <a:pt x="23812" y="2201133"/>
                </a:cubicBezTo>
                <a:lnTo>
                  <a:pt x="642937" y="339186"/>
                </a:lnTo>
                <a:cubicBezTo>
                  <a:pt x="706374" y="113062"/>
                  <a:pt x="855088" y="0"/>
                  <a:pt x="1089088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noProof="0"/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73588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3" cy="6857999"/>
          </a:xfrm>
          <a:solidFill>
            <a:schemeClr val="bg1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4579A2-7FB8-4BCD-8E04-D1854F16B6B6}"/>
              </a:ext>
            </a:extLst>
          </p:cNvPr>
          <p:cNvSpPr txBox="1"/>
          <p:nvPr userDrawn="1"/>
        </p:nvSpPr>
        <p:spPr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accent1"/>
                </a:solidFill>
              </a:rPr>
              <a:t>‹#›</a:t>
            </a:fld>
            <a:endParaRPr lang="en-GB" sz="1000" noProof="0">
              <a:solidFill>
                <a:schemeClr val="accent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13D9B0F-453E-4F6B-A665-49E0B50CEB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290" y="635618"/>
            <a:ext cx="635092" cy="459758"/>
          </a:xfrm>
          <a:prstGeom prst="rect">
            <a:avLst/>
          </a:prstGeom>
        </p:spPr>
      </p:pic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88050" y="3444241"/>
            <a:ext cx="5688011" cy="2900997"/>
          </a:xfrm>
        </p:spPr>
        <p:txBody>
          <a:bodyPr/>
          <a:lstStyle>
            <a:lvl1pPr>
              <a:lnSpc>
                <a:spcPct val="105000"/>
              </a:lnSpc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None/>
              <a:defRPr sz="850" b="1">
                <a:solidFill>
                  <a:schemeClr val="accent1"/>
                </a:solidFill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720951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66147017-D3C5-4396-93E2-488451527E41}"/>
              </a:ext>
            </a:extLst>
          </p:cNvPr>
          <p:cNvSpPr/>
          <p:nvPr/>
        </p:nvSpPr>
        <p:spPr>
          <a:xfrm>
            <a:off x="740618" y="3286155"/>
            <a:ext cx="563786" cy="452407"/>
          </a:xfrm>
          <a:custGeom>
            <a:avLst/>
            <a:gdLst>
              <a:gd name="connsiteX0" fmla="*/ 2962942 w 3373565"/>
              <a:gd name="connsiteY0" fmla="*/ 0 h 2707101"/>
              <a:gd name="connsiteX1" fmla="*/ 3010567 w 3373565"/>
              <a:gd name="connsiteY1" fmla="*/ 0 h 2707101"/>
              <a:gd name="connsiteX2" fmla="*/ 3278315 w 3373565"/>
              <a:gd name="connsiteY2" fmla="*/ 95250 h 2707101"/>
              <a:gd name="connsiteX3" fmla="*/ 3373565 w 3373565"/>
              <a:gd name="connsiteY3" fmla="*/ 345091 h 2707101"/>
              <a:gd name="connsiteX4" fmla="*/ 3343847 w 3373565"/>
              <a:gd name="connsiteY4" fmla="*/ 511683 h 2707101"/>
              <a:gd name="connsiteX5" fmla="*/ 2701386 w 3373565"/>
              <a:gd name="connsiteY5" fmla="*/ 2373726 h 2707101"/>
              <a:gd name="connsiteX6" fmla="*/ 2249234 w 3373565"/>
              <a:gd name="connsiteY6" fmla="*/ 2707101 h 2707101"/>
              <a:gd name="connsiteX7" fmla="*/ 2207610 w 3373565"/>
              <a:gd name="connsiteY7" fmla="*/ 2707101 h 2707101"/>
              <a:gd name="connsiteX8" fmla="*/ 1966437 w 3373565"/>
              <a:gd name="connsiteY8" fmla="*/ 2605945 h 2707101"/>
              <a:gd name="connsiteX9" fmla="*/ 1874235 w 3373565"/>
              <a:gd name="connsiteY9" fmla="*/ 2350199 h 2707101"/>
              <a:gd name="connsiteX10" fmla="*/ 1897666 w 3373565"/>
              <a:gd name="connsiteY10" fmla="*/ 2201133 h 2707101"/>
              <a:gd name="connsiteX11" fmla="*/ 2516791 w 3373565"/>
              <a:gd name="connsiteY11" fmla="*/ 339186 h 2707101"/>
              <a:gd name="connsiteX12" fmla="*/ 2962942 w 3373565"/>
              <a:gd name="connsiteY12" fmla="*/ 0 h 2707101"/>
              <a:gd name="connsiteX13" fmla="*/ 1089088 w 3373565"/>
              <a:gd name="connsiteY13" fmla="*/ 0 h 2707101"/>
              <a:gd name="connsiteX14" fmla="*/ 1136713 w 3373565"/>
              <a:gd name="connsiteY14" fmla="*/ 0 h 2707101"/>
              <a:gd name="connsiteX15" fmla="*/ 1404366 w 3373565"/>
              <a:gd name="connsiteY15" fmla="*/ 95250 h 2707101"/>
              <a:gd name="connsiteX16" fmla="*/ 1499616 w 3373565"/>
              <a:gd name="connsiteY16" fmla="*/ 345091 h 2707101"/>
              <a:gd name="connsiteX17" fmla="*/ 1469898 w 3373565"/>
              <a:gd name="connsiteY17" fmla="*/ 511683 h 2707101"/>
              <a:gd name="connsiteX18" fmla="*/ 827437 w 3373565"/>
              <a:gd name="connsiteY18" fmla="*/ 2373726 h 2707101"/>
              <a:gd name="connsiteX19" fmla="*/ 375285 w 3373565"/>
              <a:gd name="connsiteY19" fmla="*/ 2707101 h 2707101"/>
              <a:gd name="connsiteX20" fmla="*/ 333660 w 3373565"/>
              <a:gd name="connsiteY20" fmla="*/ 2707101 h 2707101"/>
              <a:gd name="connsiteX21" fmla="*/ 333184 w 3373565"/>
              <a:gd name="connsiteY21" fmla="*/ 2706815 h 2707101"/>
              <a:gd name="connsiteX22" fmla="*/ 92202 w 3373565"/>
              <a:gd name="connsiteY22" fmla="*/ 2605660 h 2707101"/>
              <a:gd name="connsiteX23" fmla="*/ 0 w 3373565"/>
              <a:gd name="connsiteY23" fmla="*/ 2349913 h 2707101"/>
              <a:gd name="connsiteX24" fmla="*/ 23812 w 3373565"/>
              <a:gd name="connsiteY24" fmla="*/ 2201133 h 2707101"/>
              <a:gd name="connsiteX25" fmla="*/ 642937 w 3373565"/>
              <a:gd name="connsiteY25" fmla="*/ 339186 h 2707101"/>
              <a:gd name="connsiteX26" fmla="*/ 1089088 w 3373565"/>
              <a:gd name="connsiteY26" fmla="*/ 0 h 270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73565" h="2707101">
                <a:moveTo>
                  <a:pt x="2962942" y="0"/>
                </a:moveTo>
                <a:lnTo>
                  <a:pt x="3010567" y="0"/>
                </a:lnTo>
                <a:cubicBezTo>
                  <a:pt x="3125562" y="0"/>
                  <a:pt x="3214812" y="31747"/>
                  <a:pt x="3278315" y="95250"/>
                </a:cubicBezTo>
                <a:cubicBezTo>
                  <a:pt x="3341818" y="158754"/>
                  <a:pt x="3373565" y="242031"/>
                  <a:pt x="3373565" y="345091"/>
                </a:cubicBezTo>
                <a:cubicBezTo>
                  <a:pt x="3373565" y="388716"/>
                  <a:pt x="3363659" y="444247"/>
                  <a:pt x="3343847" y="511683"/>
                </a:cubicBezTo>
                <a:lnTo>
                  <a:pt x="2701386" y="2373726"/>
                </a:lnTo>
                <a:cubicBezTo>
                  <a:pt x="2633882" y="2595973"/>
                  <a:pt x="2483168" y="2707101"/>
                  <a:pt x="2249234" y="2707101"/>
                </a:cubicBezTo>
                <a:lnTo>
                  <a:pt x="2207610" y="2707101"/>
                </a:lnTo>
                <a:cubicBezTo>
                  <a:pt x="2108293" y="2707101"/>
                  <a:pt x="2027902" y="2673382"/>
                  <a:pt x="1966437" y="2605945"/>
                </a:cubicBezTo>
                <a:cubicBezTo>
                  <a:pt x="1904972" y="2538508"/>
                  <a:pt x="1874235" y="2453260"/>
                  <a:pt x="1874235" y="2350199"/>
                </a:cubicBezTo>
                <a:cubicBezTo>
                  <a:pt x="1874235" y="2322453"/>
                  <a:pt x="1882045" y="2272761"/>
                  <a:pt x="1897666" y="2201133"/>
                </a:cubicBezTo>
                <a:lnTo>
                  <a:pt x="2516791" y="339186"/>
                </a:lnTo>
                <a:cubicBezTo>
                  <a:pt x="2580104" y="113062"/>
                  <a:pt x="2728818" y="0"/>
                  <a:pt x="2962942" y="0"/>
                </a:cubicBezTo>
                <a:close/>
                <a:moveTo>
                  <a:pt x="1089088" y="0"/>
                </a:moveTo>
                <a:lnTo>
                  <a:pt x="1136713" y="0"/>
                </a:lnTo>
                <a:cubicBezTo>
                  <a:pt x="1251651" y="0"/>
                  <a:pt x="1340863" y="31747"/>
                  <a:pt x="1404366" y="95250"/>
                </a:cubicBezTo>
                <a:cubicBezTo>
                  <a:pt x="1467869" y="158754"/>
                  <a:pt x="1499616" y="242031"/>
                  <a:pt x="1499616" y="345091"/>
                </a:cubicBezTo>
                <a:cubicBezTo>
                  <a:pt x="1499616" y="388716"/>
                  <a:pt x="1489710" y="444247"/>
                  <a:pt x="1469898" y="511683"/>
                </a:cubicBezTo>
                <a:lnTo>
                  <a:pt x="827437" y="2373726"/>
                </a:lnTo>
                <a:cubicBezTo>
                  <a:pt x="760000" y="2595973"/>
                  <a:pt x="609286" y="2707101"/>
                  <a:pt x="375285" y="2707101"/>
                </a:cubicBezTo>
                <a:lnTo>
                  <a:pt x="333660" y="2707101"/>
                </a:lnTo>
                <a:lnTo>
                  <a:pt x="333184" y="2706815"/>
                </a:lnTo>
                <a:cubicBezTo>
                  <a:pt x="234000" y="2706815"/>
                  <a:pt x="153667" y="2673097"/>
                  <a:pt x="92202" y="2605660"/>
                </a:cubicBezTo>
                <a:cubicBezTo>
                  <a:pt x="30737" y="2538223"/>
                  <a:pt x="0" y="2452974"/>
                  <a:pt x="0" y="2349913"/>
                </a:cubicBezTo>
                <a:cubicBezTo>
                  <a:pt x="0" y="2322167"/>
                  <a:pt x="7934" y="2272570"/>
                  <a:pt x="23812" y="2201133"/>
                </a:cubicBezTo>
                <a:lnTo>
                  <a:pt x="642937" y="339186"/>
                </a:lnTo>
                <a:cubicBezTo>
                  <a:pt x="706374" y="113062"/>
                  <a:pt x="855088" y="0"/>
                  <a:pt x="1089088" y="0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noProof="0"/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7426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680327" y="0"/>
            <a:ext cx="4511673" cy="6857999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05979" y="3444241"/>
            <a:ext cx="5688011" cy="2900997"/>
          </a:xfrm>
        </p:spPr>
        <p:txBody>
          <a:bodyPr/>
          <a:lstStyle>
            <a:lvl1pPr>
              <a:lnSpc>
                <a:spcPct val="105000"/>
              </a:lnSpc>
              <a:defRPr sz="24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None/>
              <a:defRPr sz="850" b="1">
                <a:solidFill>
                  <a:schemeClr val="bg1"/>
                </a:solidFill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our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ECA0ECA-0E03-4F5D-AB0F-FA908DA95F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569" y="635618"/>
            <a:ext cx="636531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345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4226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3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2028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034579A2-7FB8-4BCD-8E04-D1854F16B6B6}"/>
              </a:ext>
            </a:extLst>
          </p:cNvPr>
          <p:cNvSpPr txBox="1"/>
          <p:nvPr userDrawn="1"/>
        </p:nvSpPr>
        <p:spPr bwMode="gray"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bg1"/>
                </a:solidFill>
              </a:rPr>
              <a:t>‹#›</a:t>
            </a:fld>
            <a:endParaRPr lang="en-GB" sz="1000" noProof="0">
              <a:solidFill>
                <a:schemeClr val="bg1"/>
              </a:solidFill>
            </a:endParaRP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5438" y="2627631"/>
            <a:ext cx="9001124" cy="3717608"/>
          </a:xfrm>
        </p:spPr>
        <p:txBody>
          <a:bodyPr/>
          <a:lstStyle>
            <a:lvl1pPr algn="ctr">
              <a:lnSpc>
                <a:spcPct val="105000"/>
              </a:lnSpc>
              <a:defRPr sz="24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4500"/>
              </a:spcBef>
              <a:spcAft>
                <a:spcPts val="0"/>
              </a:spcAft>
              <a:buNone/>
              <a:defRPr sz="850" b="1">
                <a:solidFill>
                  <a:schemeClr val="bg1"/>
                </a:solidFill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ourc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ECA0ECA-0E03-4F5D-AB0F-FA908DA95F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34" y="635618"/>
            <a:ext cx="636531" cy="460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500F17-35D2-4DFE-A969-EEC21671F1A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4102100"/>
            <a:ext cx="12192000" cy="275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714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5212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5438" y="2627631"/>
            <a:ext cx="9001124" cy="2241549"/>
          </a:xfrm>
        </p:spPr>
        <p:txBody>
          <a:bodyPr/>
          <a:lstStyle>
            <a:lvl1pPr algn="l">
              <a:lnSpc>
                <a:spcPct val="105000"/>
              </a:lnSpc>
              <a:defRPr sz="24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4500"/>
              </a:spcBef>
              <a:spcAft>
                <a:spcPts val="0"/>
              </a:spcAft>
              <a:buNone/>
              <a:defRPr sz="850" b="1">
                <a:solidFill>
                  <a:schemeClr val="bg1"/>
                </a:solidFill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ECA0ECA-0E03-4F5D-AB0F-FA908DA95F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34" y="635618"/>
            <a:ext cx="636531" cy="460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500F17-35D2-4DFE-A969-EEC21671F1A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4102100"/>
            <a:ext cx="12192000" cy="2755900"/>
          </a:xfrm>
          <a:prstGeom prst="rect">
            <a:avLst/>
          </a:prstGeom>
        </p:spPr>
      </p:pic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5304B783-0F0B-4C36-8AFF-D238134805D9}"/>
              </a:ext>
            </a:extLst>
          </p:cNvPr>
          <p:cNvSpPr/>
          <p:nvPr userDrawn="1"/>
        </p:nvSpPr>
        <p:spPr>
          <a:xfrm>
            <a:off x="1251137" y="2553176"/>
            <a:ext cx="463840" cy="372206"/>
          </a:xfrm>
          <a:custGeom>
            <a:avLst/>
            <a:gdLst>
              <a:gd name="connsiteX0" fmla="*/ 2962942 w 3373565"/>
              <a:gd name="connsiteY0" fmla="*/ 0 h 2707101"/>
              <a:gd name="connsiteX1" fmla="*/ 3010567 w 3373565"/>
              <a:gd name="connsiteY1" fmla="*/ 0 h 2707101"/>
              <a:gd name="connsiteX2" fmla="*/ 3278315 w 3373565"/>
              <a:gd name="connsiteY2" fmla="*/ 95250 h 2707101"/>
              <a:gd name="connsiteX3" fmla="*/ 3373565 w 3373565"/>
              <a:gd name="connsiteY3" fmla="*/ 345091 h 2707101"/>
              <a:gd name="connsiteX4" fmla="*/ 3343847 w 3373565"/>
              <a:gd name="connsiteY4" fmla="*/ 511683 h 2707101"/>
              <a:gd name="connsiteX5" fmla="*/ 2701386 w 3373565"/>
              <a:gd name="connsiteY5" fmla="*/ 2373726 h 2707101"/>
              <a:gd name="connsiteX6" fmla="*/ 2249234 w 3373565"/>
              <a:gd name="connsiteY6" fmla="*/ 2707101 h 2707101"/>
              <a:gd name="connsiteX7" fmla="*/ 2207610 w 3373565"/>
              <a:gd name="connsiteY7" fmla="*/ 2707101 h 2707101"/>
              <a:gd name="connsiteX8" fmla="*/ 1966437 w 3373565"/>
              <a:gd name="connsiteY8" fmla="*/ 2605945 h 2707101"/>
              <a:gd name="connsiteX9" fmla="*/ 1874235 w 3373565"/>
              <a:gd name="connsiteY9" fmla="*/ 2350199 h 2707101"/>
              <a:gd name="connsiteX10" fmla="*/ 1897666 w 3373565"/>
              <a:gd name="connsiteY10" fmla="*/ 2201133 h 2707101"/>
              <a:gd name="connsiteX11" fmla="*/ 2516791 w 3373565"/>
              <a:gd name="connsiteY11" fmla="*/ 339186 h 2707101"/>
              <a:gd name="connsiteX12" fmla="*/ 2962942 w 3373565"/>
              <a:gd name="connsiteY12" fmla="*/ 0 h 2707101"/>
              <a:gd name="connsiteX13" fmla="*/ 1089088 w 3373565"/>
              <a:gd name="connsiteY13" fmla="*/ 0 h 2707101"/>
              <a:gd name="connsiteX14" fmla="*/ 1136713 w 3373565"/>
              <a:gd name="connsiteY14" fmla="*/ 0 h 2707101"/>
              <a:gd name="connsiteX15" fmla="*/ 1404366 w 3373565"/>
              <a:gd name="connsiteY15" fmla="*/ 95250 h 2707101"/>
              <a:gd name="connsiteX16" fmla="*/ 1499616 w 3373565"/>
              <a:gd name="connsiteY16" fmla="*/ 345091 h 2707101"/>
              <a:gd name="connsiteX17" fmla="*/ 1469898 w 3373565"/>
              <a:gd name="connsiteY17" fmla="*/ 511683 h 2707101"/>
              <a:gd name="connsiteX18" fmla="*/ 827437 w 3373565"/>
              <a:gd name="connsiteY18" fmla="*/ 2373726 h 2707101"/>
              <a:gd name="connsiteX19" fmla="*/ 375285 w 3373565"/>
              <a:gd name="connsiteY19" fmla="*/ 2707101 h 2707101"/>
              <a:gd name="connsiteX20" fmla="*/ 333660 w 3373565"/>
              <a:gd name="connsiteY20" fmla="*/ 2707101 h 2707101"/>
              <a:gd name="connsiteX21" fmla="*/ 333184 w 3373565"/>
              <a:gd name="connsiteY21" fmla="*/ 2706815 h 2707101"/>
              <a:gd name="connsiteX22" fmla="*/ 92202 w 3373565"/>
              <a:gd name="connsiteY22" fmla="*/ 2605660 h 2707101"/>
              <a:gd name="connsiteX23" fmla="*/ 0 w 3373565"/>
              <a:gd name="connsiteY23" fmla="*/ 2349913 h 2707101"/>
              <a:gd name="connsiteX24" fmla="*/ 23812 w 3373565"/>
              <a:gd name="connsiteY24" fmla="*/ 2201133 h 2707101"/>
              <a:gd name="connsiteX25" fmla="*/ 642937 w 3373565"/>
              <a:gd name="connsiteY25" fmla="*/ 339186 h 2707101"/>
              <a:gd name="connsiteX26" fmla="*/ 1089088 w 3373565"/>
              <a:gd name="connsiteY26" fmla="*/ 0 h 270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73565" h="2707101">
                <a:moveTo>
                  <a:pt x="2962942" y="0"/>
                </a:moveTo>
                <a:lnTo>
                  <a:pt x="3010567" y="0"/>
                </a:lnTo>
                <a:cubicBezTo>
                  <a:pt x="3125562" y="0"/>
                  <a:pt x="3214812" y="31747"/>
                  <a:pt x="3278315" y="95250"/>
                </a:cubicBezTo>
                <a:cubicBezTo>
                  <a:pt x="3341818" y="158754"/>
                  <a:pt x="3373565" y="242031"/>
                  <a:pt x="3373565" y="345091"/>
                </a:cubicBezTo>
                <a:cubicBezTo>
                  <a:pt x="3373565" y="388716"/>
                  <a:pt x="3363659" y="444247"/>
                  <a:pt x="3343847" y="511683"/>
                </a:cubicBezTo>
                <a:lnTo>
                  <a:pt x="2701386" y="2373726"/>
                </a:lnTo>
                <a:cubicBezTo>
                  <a:pt x="2633882" y="2595973"/>
                  <a:pt x="2483168" y="2707101"/>
                  <a:pt x="2249234" y="2707101"/>
                </a:cubicBezTo>
                <a:lnTo>
                  <a:pt x="2207610" y="2707101"/>
                </a:lnTo>
                <a:cubicBezTo>
                  <a:pt x="2108293" y="2707101"/>
                  <a:pt x="2027902" y="2673382"/>
                  <a:pt x="1966437" y="2605945"/>
                </a:cubicBezTo>
                <a:cubicBezTo>
                  <a:pt x="1904972" y="2538508"/>
                  <a:pt x="1874235" y="2453260"/>
                  <a:pt x="1874235" y="2350199"/>
                </a:cubicBezTo>
                <a:cubicBezTo>
                  <a:pt x="1874235" y="2322453"/>
                  <a:pt x="1882045" y="2272761"/>
                  <a:pt x="1897666" y="2201133"/>
                </a:cubicBezTo>
                <a:lnTo>
                  <a:pt x="2516791" y="339186"/>
                </a:lnTo>
                <a:cubicBezTo>
                  <a:pt x="2580104" y="113062"/>
                  <a:pt x="2728818" y="0"/>
                  <a:pt x="2962942" y="0"/>
                </a:cubicBezTo>
                <a:close/>
                <a:moveTo>
                  <a:pt x="1089088" y="0"/>
                </a:moveTo>
                <a:lnTo>
                  <a:pt x="1136713" y="0"/>
                </a:lnTo>
                <a:cubicBezTo>
                  <a:pt x="1251651" y="0"/>
                  <a:pt x="1340863" y="31747"/>
                  <a:pt x="1404366" y="95250"/>
                </a:cubicBezTo>
                <a:cubicBezTo>
                  <a:pt x="1467869" y="158754"/>
                  <a:pt x="1499616" y="242031"/>
                  <a:pt x="1499616" y="345091"/>
                </a:cubicBezTo>
                <a:cubicBezTo>
                  <a:pt x="1499616" y="388716"/>
                  <a:pt x="1489710" y="444247"/>
                  <a:pt x="1469898" y="511683"/>
                </a:cubicBezTo>
                <a:lnTo>
                  <a:pt x="827437" y="2373726"/>
                </a:lnTo>
                <a:cubicBezTo>
                  <a:pt x="760000" y="2595973"/>
                  <a:pt x="609286" y="2707101"/>
                  <a:pt x="375285" y="2707101"/>
                </a:cubicBezTo>
                <a:lnTo>
                  <a:pt x="333660" y="2707101"/>
                </a:lnTo>
                <a:lnTo>
                  <a:pt x="333184" y="2706815"/>
                </a:lnTo>
                <a:cubicBezTo>
                  <a:pt x="234000" y="2706815"/>
                  <a:pt x="153667" y="2673097"/>
                  <a:pt x="92202" y="2605660"/>
                </a:cubicBezTo>
                <a:cubicBezTo>
                  <a:pt x="30737" y="2538223"/>
                  <a:pt x="0" y="2452974"/>
                  <a:pt x="0" y="2349913"/>
                </a:cubicBezTo>
                <a:cubicBezTo>
                  <a:pt x="0" y="2322167"/>
                  <a:pt x="7934" y="2272570"/>
                  <a:pt x="23812" y="2201133"/>
                </a:cubicBezTo>
                <a:lnTo>
                  <a:pt x="642937" y="339186"/>
                </a:lnTo>
                <a:cubicBezTo>
                  <a:pt x="706374" y="113062"/>
                  <a:pt x="855088" y="0"/>
                  <a:pt x="1089088" y="0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003941-6D23-412F-BF3E-BADC6A61DC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62201" y="5138040"/>
            <a:ext cx="3733800" cy="554036"/>
          </a:xfrm>
        </p:spPr>
        <p:txBody>
          <a:bodyPr anchor="ctr"/>
          <a:lstStyle>
            <a:lvl1pPr>
              <a:defRPr sz="85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1C0615B3-8B18-460A-A6FB-1B892280DF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95438" y="5138039"/>
            <a:ext cx="554037" cy="554037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algn="ctr">
              <a:defRPr sz="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4579A2-7FB8-4BCD-8E04-D1854F16B6B6}"/>
              </a:ext>
            </a:extLst>
          </p:cNvPr>
          <p:cNvSpPr txBox="1"/>
          <p:nvPr userDrawn="1"/>
        </p:nvSpPr>
        <p:spPr bwMode="gray"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bg1"/>
                </a:solidFill>
              </a:rPr>
              <a:t>‹#›</a:t>
            </a:fld>
            <a:endParaRPr lang="en-GB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803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5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5212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5438" y="2627631"/>
            <a:ext cx="9001124" cy="2241549"/>
          </a:xfrm>
        </p:spPr>
        <p:txBody>
          <a:bodyPr/>
          <a:lstStyle>
            <a:lvl1pPr algn="l">
              <a:lnSpc>
                <a:spcPct val="105000"/>
              </a:lnSpc>
              <a:defRPr sz="24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4500"/>
              </a:spcBef>
              <a:spcAft>
                <a:spcPts val="0"/>
              </a:spcAft>
              <a:buNone/>
              <a:defRPr sz="850" b="1">
                <a:solidFill>
                  <a:schemeClr val="bg1"/>
                </a:solidFill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ECA0ECA-0E03-4F5D-AB0F-FA908DA95F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34" y="635618"/>
            <a:ext cx="636531" cy="460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500F17-35D2-4DFE-A969-EEC21671F1A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4102100"/>
            <a:ext cx="12192000" cy="2755900"/>
          </a:xfrm>
          <a:prstGeom prst="rect">
            <a:avLst/>
          </a:prstGeom>
        </p:spPr>
      </p:pic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5304B783-0F0B-4C36-8AFF-D238134805D9}"/>
              </a:ext>
            </a:extLst>
          </p:cNvPr>
          <p:cNvSpPr/>
          <p:nvPr userDrawn="1"/>
        </p:nvSpPr>
        <p:spPr>
          <a:xfrm>
            <a:off x="1251137" y="2553176"/>
            <a:ext cx="463840" cy="372206"/>
          </a:xfrm>
          <a:custGeom>
            <a:avLst/>
            <a:gdLst>
              <a:gd name="connsiteX0" fmla="*/ 2962942 w 3373565"/>
              <a:gd name="connsiteY0" fmla="*/ 0 h 2707101"/>
              <a:gd name="connsiteX1" fmla="*/ 3010567 w 3373565"/>
              <a:gd name="connsiteY1" fmla="*/ 0 h 2707101"/>
              <a:gd name="connsiteX2" fmla="*/ 3278315 w 3373565"/>
              <a:gd name="connsiteY2" fmla="*/ 95250 h 2707101"/>
              <a:gd name="connsiteX3" fmla="*/ 3373565 w 3373565"/>
              <a:gd name="connsiteY3" fmla="*/ 345091 h 2707101"/>
              <a:gd name="connsiteX4" fmla="*/ 3343847 w 3373565"/>
              <a:gd name="connsiteY4" fmla="*/ 511683 h 2707101"/>
              <a:gd name="connsiteX5" fmla="*/ 2701386 w 3373565"/>
              <a:gd name="connsiteY5" fmla="*/ 2373726 h 2707101"/>
              <a:gd name="connsiteX6" fmla="*/ 2249234 w 3373565"/>
              <a:gd name="connsiteY6" fmla="*/ 2707101 h 2707101"/>
              <a:gd name="connsiteX7" fmla="*/ 2207610 w 3373565"/>
              <a:gd name="connsiteY7" fmla="*/ 2707101 h 2707101"/>
              <a:gd name="connsiteX8" fmla="*/ 1966437 w 3373565"/>
              <a:gd name="connsiteY8" fmla="*/ 2605945 h 2707101"/>
              <a:gd name="connsiteX9" fmla="*/ 1874235 w 3373565"/>
              <a:gd name="connsiteY9" fmla="*/ 2350199 h 2707101"/>
              <a:gd name="connsiteX10" fmla="*/ 1897666 w 3373565"/>
              <a:gd name="connsiteY10" fmla="*/ 2201133 h 2707101"/>
              <a:gd name="connsiteX11" fmla="*/ 2516791 w 3373565"/>
              <a:gd name="connsiteY11" fmla="*/ 339186 h 2707101"/>
              <a:gd name="connsiteX12" fmla="*/ 2962942 w 3373565"/>
              <a:gd name="connsiteY12" fmla="*/ 0 h 2707101"/>
              <a:gd name="connsiteX13" fmla="*/ 1089088 w 3373565"/>
              <a:gd name="connsiteY13" fmla="*/ 0 h 2707101"/>
              <a:gd name="connsiteX14" fmla="*/ 1136713 w 3373565"/>
              <a:gd name="connsiteY14" fmla="*/ 0 h 2707101"/>
              <a:gd name="connsiteX15" fmla="*/ 1404366 w 3373565"/>
              <a:gd name="connsiteY15" fmla="*/ 95250 h 2707101"/>
              <a:gd name="connsiteX16" fmla="*/ 1499616 w 3373565"/>
              <a:gd name="connsiteY16" fmla="*/ 345091 h 2707101"/>
              <a:gd name="connsiteX17" fmla="*/ 1469898 w 3373565"/>
              <a:gd name="connsiteY17" fmla="*/ 511683 h 2707101"/>
              <a:gd name="connsiteX18" fmla="*/ 827437 w 3373565"/>
              <a:gd name="connsiteY18" fmla="*/ 2373726 h 2707101"/>
              <a:gd name="connsiteX19" fmla="*/ 375285 w 3373565"/>
              <a:gd name="connsiteY19" fmla="*/ 2707101 h 2707101"/>
              <a:gd name="connsiteX20" fmla="*/ 333660 w 3373565"/>
              <a:gd name="connsiteY20" fmla="*/ 2707101 h 2707101"/>
              <a:gd name="connsiteX21" fmla="*/ 333184 w 3373565"/>
              <a:gd name="connsiteY21" fmla="*/ 2706815 h 2707101"/>
              <a:gd name="connsiteX22" fmla="*/ 92202 w 3373565"/>
              <a:gd name="connsiteY22" fmla="*/ 2605660 h 2707101"/>
              <a:gd name="connsiteX23" fmla="*/ 0 w 3373565"/>
              <a:gd name="connsiteY23" fmla="*/ 2349913 h 2707101"/>
              <a:gd name="connsiteX24" fmla="*/ 23812 w 3373565"/>
              <a:gd name="connsiteY24" fmla="*/ 2201133 h 2707101"/>
              <a:gd name="connsiteX25" fmla="*/ 642937 w 3373565"/>
              <a:gd name="connsiteY25" fmla="*/ 339186 h 2707101"/>
              <a:gd name="connsiteX26" fmla="*/ 1089088 w 3373565"/>
              <a:gd name="connsiteY26" fmla="*/ 0 h 270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373565" h="2707101">
                <a:moveTo>
                  <a:pt x="2962942" y="0"/>
                </a:moveTo>
                <a:lnTo>
                  <a:pt x="3010567" y="0"/>
                </a:lnTo>
                <a:cubicBezTo>
                  <a:pt x="3125562" y="0"/>
                  <a:pt x="3214812" y="31747"/>
                  <a:pt x="3278315" y="95250"/>
                </a:cubicBezTo>
                <a:cubicBezTo>
                  <a:pt x="3341818" y="158754"/>
                  <a:pt x="3373565" y="242031"/>
                  <a:pt x="3373565" y="345091"/>
                </a:cubicBezTo>
                <a:cubicBezTo>
                  <a:pt x="3373565" y="388716"/>
                  <a:pt x="3363659" y="444247"/>
                  <a:pt x="3343847" y="511683"/>
                </a:cubicBezTo>
                <a:lnTo>
                  <a:pt x="2701386" y="2373726"/>
                </a:lnTo>
                <a:cubicBezTo>
                  <a:pt x="2633882" y="2595973"/>
                  <a:pt x="2483168" y="2707101"/>
                  <a:pt x="2249234" y="2707101"/>
                </a:cubicBezTo>
                <a:lnTo>
                  <a:pt x="2207610" y="2707101"/>
                </a:lnTo>
                <a:cubicBezTo>
                  <a:pt x="2108293" y="2707101"/>
                  <a:pt x="2027902" y="2673382"/>
                  <a:pt x="1966437" y="2605945"/>
                </a:cubicBezTo>
                <a:cubicBezTo>
                  <a:pt x="1904972" y="2538508"/>
                  <a:pt x="1874235" y="2453260"/>
                  <a:pt x="1874235" y="2350199"/>
                </a:cubicBezTo>
                <a:cubicBezTo>
                  <a:pt x="1874235" y="2322453"/>
                  <a:pt x="1882045" y="2272761"/>
                  <a:pt x="1897666" y="2201133"/>
                </a:cubicBezTo>
                <a:lnTo>
                  <a:pt x="2516791" y="339186"/>
                </a:lnTo>
                <a:cubicBezTo>
                  <a:pt x="2580104" y="113062"/>
                  <a:pt x="2728818" y="0"/>
                  <a:pt x="2962942" y="0"/>
                </a:cubicBezTo>
                <a:close/>
                <a:moveTo>
                  <a:pt x="1089088" y="0"/>
                </a:moveTo>
                <a:lnTo>
                  <a:pt x="1136713" y="0"/>
                </a:lnTo>
                <a:cubicBezTo>
                  <a:pt x="1251651" y="0"/>
                  <a:pt x="1340863" y="31747"/>
                  <a:pt x="1404366" y="95250"/>
                </a:cubicBezTo>
                <a:cubicBezTo>
                  <a:pt x="1467869" y="158754"/>
                  <a:pt x="1499616" y="242031"/>
                  <a:pt x="1499616" y="345091"/>
                </a:cubicBezTo>
                <a:cubicBezTo>
                  <a:pt x="1499616" y="388716"/>
                  <a:pt x="1489710" y="444247"/>
                  <a:pt x="1469898" y="511683"/>
                </a:cubicBezTo>
                <a:lnTo>
                  <a:pt x="827437" y="2373726"/>
                </a:lnTo>
                <a:cubicBezTo>
                  <a:pt x="760000" y="2595973"/>
                  <a:pt x="609286" y="2707101"/>
                  <a:pt x="375285" y="2707101"/>
                </a:cubicBezTo>
                <a:lnTo>
                  <a:pt x="333660" y="2707101"/>
                </a:lnTo>
                <a:lnTo>
                  <a:pt x="333184" y="2706815"/>
                </a:lnTo>
                <a:cubicBezTo>
                  <a:pt x="234000" y="2706815"/>
                  <a:pt x="153667" y="2673097"/>
                  <a:pt x="92202" y="2605660"/>
                </a:cubicBezTo>
                <a:cubicBezTo>
                  <a:pt x="30737" y="2538223"/>
                  <a:pt x="0" y="2452974"/>
                  <a:pt x="0" y="2349913"/>
                </a:cubicBezTo>
                <a:cubicBezTo>
                  <a:pt x="0" y="2322167"/>
                  <a:pt x="7934" y="2272570"/>
                  <a:pt x="23812" y="2201133"/>
                </a:cubicBezTo>
                <a:lnTo>
                  <a:pt x="642937" y="339186"/>
                </a:lnTo>
                <a:cubicBezTo>
                  <a:pt x="706374" y="113062"/>
                  <a:pt x="855088" y="0"/>
                  <a:pt x="1089088" y="0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003941-6D23-412F-BF3E-BADC6A61DC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62201" y="5138040"/>
            <a:ext cx="3733800" cy="554036"/>
          </a:xfrm>
        </p:spPr>
        <p:txBody>
          <a:bodyPr anchor="ctr"/>
          <a:lstStyle>
            <a:lvl1pPr>
              <a:defRPr sz="85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1C0615B3-8B18-460A-A6FB-1B892280DF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95438" y="5138039"/>
            <a:ext cx="554037" cy="554037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algn="ctr">
              <a:defRPr sz="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4579A2-7FB8-4BCD-8E04-D1854F16B6B6}"/>
              </a:ext>
            </a:extLst>
          </p:cNvPr>
          <p:cNvSpPr txBox="1"/>
          <p:nvPr userDrawn="1"/>
        </p:nvSpPr>
        <p:spPr bwMode="gray"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bg1"/>
                </a:solidFill>
              </a:rPr>
              <a:t>‹#›</a:t>
            </a:fld>
            <a:endParaRPr lang="en-GB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97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343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951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00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6E8A8-1790-D347-9060-183FFA21F4A8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2AF3B-4715-634D-811A-1D014B9EE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597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5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82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24162301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344" imgH="345" progId="TCLayout.ActiveDocument.1">
                  <p:embed/>
                </p:oleObj>
              </mc:Choice>
              <mc:Fallback>
                <p:oleObj name="think-cell Folie" r:id="rId4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515939" y="620713"/>
            <a:ext cx="11160124" cy="4147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noProof="0"/>
              <a:t>Click to edit Title Text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515939" y="2241550"/>
            <a:ext cx="6948486" cy="4103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BFFA19F-81CC-4A23-A020-6B059B4D251C}"/>
              </a:ext>
            </a:extLst>
          </p:cNvPr>
          <p:cNvSpPr txBox="1"/>
          <p:nvPr userDrawn="1"/>
        </p:nvSpPr>
        <p:spPr bwMode="gray">
          <a:xfrm>
            <a:off x="515938" y="6434491"/>
            <a:ext cx="1022350" cy="217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b="1" noProof="1">
                <a:solidFill>
                  <a:schemeClr val="accent1"/>
                </a:solidFill>
              </a:rPr>
              <a:t>Wintershall De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noProof="0">
                <a:solidFill>
                  <a:schemeClr val="accent1"/>
                </a:solidFill>
              </a:rPr>
              <a:t>00 Month 2022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CDA99559-A0EC-4882-A98A-97B2A4824FD3}"/>
              </a:ext>
            </a:extLst>
          </p:cNvPr>
          <p:cNvSpPr txBox="1"/>
          <p:nvPr userDrawn="1"/>
        </p:nvSpPr>
        <p:spPr bwMode="gray">
          <a:xfrm>
            <a:off x="1595437" y="6434491"/>
            <a:ext cx="5868987" cy="217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b="1" noProof="0">
                <a:solidFill>
                  <a:schemeClr val="accent1"/>
                </a:solidFill>
              </a:rPr>
              <a:t>Title of presentat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r>
              <a:rPr lang="en-GB" sz="700" noProof="0">
                <a:solidFill>
                  <a:schemeClr val="accent1"/>
                </a:solidFill>
              </a:rPr>
              <a:t>Author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C5B2095-C2D3-49B2-BA81-494BDF885EBF}"/>
              </a:ext>
            </a:extLst>
          </p:cNvPr>
          <p:cNvSpPr txBox="1"/>
          <p:nvPr userDrawn="1"/>
        </p:nvSpPr>
        <p:spPr bwMode="gray">
          <a:xfrm>
            <a:off x="10963275" y="6399566"/>
            <a:ext cx="712787" cy="21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85000"/>
              <a:buFont typeface="Symbol" panose="05050102010706020507" pitchFamily="18" charset="2"/>
              <a:buNone/>
            </a:pPr>
            <a:fld id="{EEB72A88-FA75-4441-88D6-119BEB63B0F4}" type="slidenum">
              <a:rPr lang="en-GB" sz="1000" b="1" noProof="0" smtClean="0">
                <a:solidFill>
                  <a:schemeClr val="accent1"/>
                </a:solidFill>
              </a:rPr>
              <a:t>‹#›</a:t>
            </a:fld>
            <a:endParaRPr lang="en-GB" sz="1000" noProof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53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  <p:sldLayoutId id="2147483725" r:id="rId40"/>
    <p:sldLayoutId id="2147483726" r:id="rId4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2"/>
        </a:buClr>
        <a:buSzPct val="120000"/>
        <a:buFont typeface="WintershallDea Office" panose="020B0503040000020003" pitchFamily="34" charset="0"/>
        <a:buChar char="›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357188" indent="-176213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2"/>
        </a:buClr>
        <a:buSzPct val="120000"/>
        <a:buFont typeface="WintershallDea Office" panose="020B0503040000020003" pitchFamily="34" charset="0"/>
        <a:buChar char="›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8163" indent="-180975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2"/>
        </a:buClr>
        <a:buSzPct val="120000"/>
        <a:buFont typeface="WintershallDea Office" panose="020B0503040000020003" pitchFamily="34" charset="0"/>
        <a:buChar char="›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714375" indent="-176213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2"/>
        </a:buClr>
        <a:buSzPct val="120000"/>
        <a:buFont typeface="WintershallDea Office" panose="020B0503040000020003" pitchFamily="34" charset="0"/>
        <a:buChar char="›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72">
          <p15:clr>
            <a:srgbClr val="F26B43"/>
          </p15:clr>
        </p15:guide>
        <p15:guide id="3" orient="horz" pos="867">
          <p15:clr>
            <a:srgbClr val="F26B43"/>
          </p15:clr>
        </p15:guide>
        <p15:guide id="4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pos="325">
          <p15:clr>
            <a:srgbClr val="F26B43"/>
          </p15:clr>
        </p15:guide>
        <p15:guide id="13" pos="3908">
          <p15:clr>
            <a:srgbClr val="F26B43"/>
          </p15:clr>
        </p15:guide>
        <p15:guide id="14" orient="horz" pos="1412">
          <p15:clr>
            <a:srgbClr val="F26B43"/>
          </p15:clr>
        </p15:guide>
        <p15:guide id="15" orient="horz" pos="391">
          <p15:clr>
            <a:srgbClr val="F26B43"/>
          </p15:clr>
        </p15:guide>
        <p15:guide id="16" pos="3840">
          <p15:clr>
            <a:srgbClr val="F26B43"/>
          </p15:clr>
        </p15:guide>
        <p15:guide id="17" pos="2978">
          <p15:clr>
            <a:srgbClr val="F26B43"/>
          </p15:clr>
        </p15:guide>
        <p15:guide id="18" pos="4702">
          <p15:clr>
            <a:srgbClr val="F26B43"/>
          </p15:clr>
        </p15:guide>
        <p15:guide id="19" pos="2842">
          <p15:clr>
            <a:srgbClr val="F26B43"/>
          </p15:clr>
        </p15:guide>
        <p15:guide id="20" pos="4838">
          <p15:clr>
            <a:srgbClr val="F26B43"/>
          </p15:clr>
        </p15:guide>
        <p15:guide id="21" pos="1005">
          <p15:clr>
            <a:srgbClr val="F26B43"/>
          </p15:clr>
        </p15:guide>
        <p15:guide id="22" orient="horz" pos="1684">
          <p15:clr>
            <a:srgbClr val="F26B43"/>
          </p15:clr>
        </p15:guide>
        <p15:guide id="23" orient="horz" pos="26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7.png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openxmlformats.org/officeDocument/2006/relationships/image" Target="../media/image43.jpeg"/><Relationship Id="rId21" Type="http://schemas.openxmlformats.org/officeDocument/2006/relationships/image" Target="../media/image61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17" Type="http://schemas.openxmlformats.org/officeDocument/2006/relationships/image" Target="../media/image57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6.png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11" Type="http://schemas.openxmlformats.org/officeDocument/2006/relationships/image" Target="../media/image51.jpeg"/><Relationship Id="rId5" Type="http://schemas.openxmlformats.org/officeDocument/2006/relationships/image" Target="../media/image45.jpeg"/><Relationship Id="rId15" Type="http://schemas.openxmlformats.org/officeDocument/2006/relationships/image" Target="../media/image55.svg"/><Relationship Id="rId10" Type="http://schemas.openxmlformats.org/officeDocument/2006/relationships/image" Target="../media/image50.png"/><Relationship Id="rId19" Type="http://schemas.openxmlformats.org/officeDocument/2006/relationships/image" Target="../media/image59.emf"/><Relationship Id="rId4" Type="http://schemas.openxmlformats.org/officeDocument/2006/relationships/image" Target="../media/image44.png"/><Relationship Id="rId9" Type="http://schemas.openxmlformats.org/officeDocument/2006/relationships/image" Target="../media/image49.jpeg"/><Relationship Id="rId1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7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1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20.png"/><Relationship Id="rId5" Type="http://schemas.openxmlformats.org/officeDocument/2006/relationships/image" Target="../media/image22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27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7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49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1BEB2D07-6B38-DB23-02F7-AB671886544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23973" y="168172"/>
            <a:ext cx="3393927" cy="104527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BDB3BF7-DD85-0651-EF03-EF29F44598BC}"/>
              </a:ext>
            </a:extLst>
          </p:cNvPr>
          <p:cNvSpPr txBox="1"/>
          <p:nvPr/>
        </p:nvSpPr>
        <p:spPr>
          <a:xfrm>
            <a:off x="2280665" y="1647825"/>
            <a:ext cx="72906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600"/>
              </a:spcAft>
              <a:buSzPct val="85000"/>
              <a:defRPr/>
            </a:pPr>
            <a:r>
              <a:rPr lang="en-US" sz="24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Experimental study of microbial hydrogen consumption rates by </a:t>
            </a:r>
            <a:r>
              <a:rPr lang="en-US" sz="2400" b="1" i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Oleidesulfovibrio alaskensis </a:t>
            </a:r>
            <a:r>
              <a:rPr lang="en-US" sz="24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in porous media</a:t>
            </a:r>
            <a:r>
              <a:rPr lang="en-US" altLang="en-US" sz="24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: Relevance for UHS</a:t>
            </a:r>
            <a:endParaRPr kumimoji="0" lang="en-US" altLang="en-US" sz="24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556CF8-4CDD-CA3F-7AB0-ED47CE402CF7}"/>
              </a:ext>
            </a:extLst>
          </p:cNvPr>
          <p:cNvSpPr txBox="1"/>
          <p:nvPr/>
        </p:nvSpPr>
        <p:spPr>
          <a:xfrm>
            <a:off x="2161095" y="3876199"/>
            <a:ext cx="7869810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4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By Raymond Mushabe: 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Na Liu, Nicole Dopffel, Geir Ersland, and Martin A. Fernø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 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kumimoji="0" lang="en-US" alt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" panose="02020603050405020304" pitchFamily="18" charset="0"/>
                <a:cs typeface="Times" panose="02020603050405020304" pitchFamily="18" charset="0"/>
              </a:rPr>
              <a:t>21</a:t>
            </a:r>
            <a:r>
              <a:rPr kumimoji="0" lang="en-US" altLang="en-US" sz="1200" b="1" i="1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" panose="02020603050405020304" pitchFamily="18" charset="0"/>
                <a:cs typeface="Times" panose="02020603050405020304" pitchFamily="18" charset="0"/>
              </a:rPr>
              <a:t>st</a:t>
            </a:r>
            <a:r>
              <a:rPr kumimoji="0" lang="en-US" alt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" panose="02020603050405020304" pitchFamily="18" charset="0"/>
                <a:cs typeface="Times" panose="02020603050405020304" pitchFamily="18" charset="0"/>
              </a:rPr>
              <a:t> May 2025 (Interpore 2025)</a:t>
            </a:r>
            <a:endParaRPr kumimoji="0" lang="en-US" altLang="en-US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895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E8A657-3A95-745C-78C3-C5F63B2A8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C19BFC48-513D-61E5-EA52-2DF3B4264564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50039F4-24E4-74B3-6FC3-50011392B2CB}"/>
              </a:ext>
            </a:extLst>
          </p:cNvPr>
          <p:cNvSpPr txBox="1"/>
          <p:nvPr/>
        </p:nvSpPr>
        <p:spPr>
          <a:xfrm>
            <a:off x="416086" y="388701"/>
            <a:ext cx="58386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/>
                <a:cs typeface="Times" panose="02020603050405020304"/>
              </a:rPr>
              <a:t>Results: Additional findings.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9BB4219-584A-0F48-6B0F-8FACCC85986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2078" y="6194402"/>
            <a:ext cx="1889922" cy="58206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EB8BD1E-802D-7A92-5B4A-3FE849A4BB17}"/>
              </a:ext>
            </a:extLst>
          </p:cNvPr>
          <p:cNvSpPr/>
          <p:nvPr/>
        </p:nvSpPr>
        <p:spPr>
          <a:xfrm>
            <a:off x="5162550" y="1390139"/>
            <a:ext cx="6551391" cy="3096136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Microbes were self-limiting with hydrogen consumption due change in pH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>
              <a:defRPr/>
            </a:pPr>
            <a:r>
              <a:rPr lang="en-US" sz="1400" dirty="0">
                <a:solidFill>
                  <a:schemeClr val="accent1"/>
                </a:solidFill>
                <a:latin typeface="Times" panose="02020603050405020304"/>
                <a:cs typeface="Times" panose="02020603050405020304"/>
              </a:rPr>
              <a:t>Further consumption possible in fine and coarse. Implying change in local brine environment especially pH</a:t>
            </a:r>
          </a:p>
          <a:p>
            <a:pPr lvl="1"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Losses in the later stages of the fine, medium and coarse grained were lower than the mechanical losses (plateauing intervals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Improvement in sand pack storage capacity (average Sw) between drainage cycles in non-sterile sand packs (4 – 24%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>
              <a:defRPr/>
            </a:pPr>
            <a:r>
              <a:rPr lang="en-US" sz="1400" dirty="0">
                <a:solidFill>
                  <a:schemeClr val="accent1"/>
                </a:solidFill>
                <a:latin typeface="Times" panose="02020603050405020304"/>
                <a:cs typeface="Times" panose="02020603050405020304"/>
              </a:rPr>
              <a:t>Recent MRI data will give insight into some of these phenomenon</a:t>
            </a:r>
          </a:p>
          <a:p>
            <a:pPr lvl="1"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857250" lvl="1" indent="-400050">
              <a:buFont typeface="+mj-lt"/>
              <a:buAutoNum type="romanUcPeriod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F5EF7770-8890-31DF-4469-D700E052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>
                <a:latin typeface="Times" panose="02020603050405020304"/>
                <a:cs typeface="Times" panose="02020603050405020304"/>
              </a:rPr>
              <a:t>10</a:t>
            </a:fld>
            <a:endParaRPr lang="en-US" sz="1800" b="1" dirty="0">
              <a:latin typeface="Times" panose="02020603050405020304"/>
              <a:cs typeface="Times" panose="02020603050405020304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EEF7401-78C5-0D77-259B-88E46C783CED}"/>
              </a:ext>
            </a:extLst>
          </p:cNvPr>
          <p:cNvGrpSpPr/>
          <p:nvPr/>
        </p:nvGrpSpPr>
        <p:grpSpPr>
          <a:xfrm>
            <a:off x="116109" y="1390139"/>
            <a:ext cx="4984389" cy="3096136"/>
            <a:chOff x="116109" y="1390139"/>
            <a:chExt cx="4984389" cy="3096136"/>
          </a:xfrm>
        </p:grpSpPr>
        <p:pic>
          <p:nvPicPr>
            <p:cNvPr id="5" name="Picture 4" descr="A graph of a sl storage time&#10;&#10;AI-generated content may be incorrect.">
              <a:extLst>
                <a:ext uri="{FF2B5EF4-FFF2-40B4-BE49-F238E27FC236}">
                  <a16:creationId xmlns:a16="http://schemas.microsoft.com/office/drawing/2014/main" id="{B2A28918-57DD-F284-3190-A61B3393B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109" y="1390139"/>
              <a:ext cx="4984389" cy="3096136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4DE40A4-A924-5CE8-C86F-6FB9476AE580}"/>
                </a:ext>
              </a:extLst>
            </p:cNvPr>
            <p:cNvSpPr/>
            <p:nvPr/>
          </p:nvSpPr>
          <p:spPr>
            <a:xfrm>
              <a:off x="2838475" y="2851435"/>
              <a:ext cx="215928" cy="188888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Times" panose="02020603050405020304"/>
                  <a:cs typeface="Times" panose="02020603050405020304"/>
                </a:rPr>
                <a:t>2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8CE6A58-86A5-8F5C-04A4-22C7BBD114B9}"/>
                </a:ext>
              </a:extLst>
            </p:cNvPr>
            <p:cNvSpPr/>
            <p:nvPr/>
          </p:nvSpPr>
          <p:spPr>
            <a:xfrm>
              <a:off x="2838475" y="3779578"/>
              <a:ext cx="215928" cy="188888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Times" panose="02020603050405020304"/>
                  <a:cs typeface="Times" panose="02020603050405020304"/>
                </a:rPr>
                <a:t>1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4E598A3-E046-DF9E-FFBE-5E06A706C34D}"/>
                </a:ext>
              </a:extLst>
            </p:cNvPr>
            <p:cNvSpPr/>
            <p:nvPr/>
          </p:nvSpPr>
          <p:spPr>
            <a:xfrm>
              <a:off x="4619648" y="2162113"/>
              <a:ext cx="215928" cy="188888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Times" panose="02020603050405020304"/>
                  <a:cs typeface="Times" panose="02020603050405020304"/>
                </a:rPr>
                <a:t>3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41F0369-FAF6-0316-BC3F-4211C371FEA1}"/>
              </a:ext>
            </a:extLst>
          </p:cNvPr>
          <p:cNvGrpSpPr/>
          <p:nvPr/>
        </p:nvGrpSpPr>
        <p:grpSpPr>
          <a:xfrm>
            <a:off x="116108" y="4446166"/>
            <a:ext cx="11597832" cy="2382825"/>
            <a:chOff x="116108" y="4446166"/>
            <a:chExt cx="11597832" cy="238282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27F3815-683D-9C0C-268C-398F34F5F00C}"/>
                </a:ext>
              </a:extLst>
            </p:cNvPr>
            <p:cNvSpPr/>
            <p:nvPr/>
          </p:nvSpPr>
          <p:spPr>
            <a:xfrm>
              <a:off x="6248401" y="4750108"/>
              <a:ext cx="5465539" cy="1288932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sz="14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Used a 4.7 T MRI scanner to image hydrogen injection and storage cycles both in sterile and non-sterile cyc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sz="14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Applied different imaging </a:t>
              </a:r>
              <a:r>
                <a:rPr lang="en-US" sz="1400" dirty="0" err="1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configureations</a:t>
              </a:r>
              <a:r>
                <a:rPr lang="en-US" sz="14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 (T1, T2, PD and combination of them) to understand different processes</a:t>
              </a:r>
            </a:p>
          </p:txBody>
        </p:sp>
        <p:pic>
          <p:nvPicPr>
            <p:cNvPr id="14" name="Picture 13" descr="A white rectangular object with red border&#10;&#10;AI-generated content may be incorrect.">
              <a:extLst>
                <a:ext uri="{FF2B5EF4-FFF2-40B4-BE49-F238E27FC236}">
                  <a16:creationId xmlns:a16="http://schemas.microsoft.com/office/drawing/2014/main" id="{FF89A258-4C9A-6962-1955-EE7ED696C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3137963" y="3539594"/>
              <a:ext cx="1063919" cy="2957284"/>
            </a:xfrm>
            <a:prstGeom prst="rect">
              <a:avLst/>
            </a:prstGeom>
          </p:spPr>
        </p:pic>
        <p:pic>
          <p:nvPicPr>
            <p:cNvPr id="16" name="Picture 15" descr="A blurry image of a person&#10;&#10;AI-generated content may be incorrect.">
              <a:extLst>
                <a:ext uri="{FF2B5EF4-FFF2-40B4-BE49-F238E27FC236}">
                  <a16:creationId xmlns:a16="http://schemas.microsoft.com/office/drawing/2014/main" id="{7CCE3469-5DC0-F802-C25C-16D02F135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3179128" y="4686126"/>
              <a:ext cx="981587" cy="2957286"/>
            </a:xfrm>
            <a:prstGeom prst="rect">
              <a:avLst/>
            </a:prstGeom>
          </p:spPr>
        </p:pic>
        <p:pic>
          <p:nvPicPr>
            <p:cNvPr id="17" name="Picture 16" descr="A person standing in a room&#10;&#10;AI-generated content may be incorrect.">
              <a:extLst>
                <a:ext uri="{FF2B5EF4-FFF2-40B4-BE49-F238E27FC236}">
                  <a16:creationId xmlns:a16="http://schemas.microsoft.com/office/drawing/2014/main" id="{DBB16AA1-4CBC-2975-C612-01D2C27B3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-130345" y="4692619"/>
              <a:ext cx="2382825" cy="1889920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8FC3E78-EB4F-7A0A-555A-8E986BB53296}"/>
                </a:ext>
              </a:extLst>
            </p:cNvPr>
            <p:cNvSpPr/>
            <p:nvPr/>
          </p:nvSpPr>
          <p:spPr>
            <a:xfrm>
              <a:off x="5239857" y="4755571"/>
              <a:ext cx="703743" cy="365125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Sw = 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7A00746-C166-CB92-DD0A-96AB1A2FE923}"/>
                </a:ext>
              </a:extLst>
            </p:cNvPr>
            <p:cNvSpPr/>
            <p:nvPr/>
          </p:nvSpPr>
          <p:spPr>
            <a:xfrm>
              <a:off x="5303431" y="5937749"/>
              <a:ext cx="792570" cy="365125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Sw = 0.6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117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EFCF2C-75E9-A15A-8ACD-E2EABC6AB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E9E13C83-E29A-D4D9-F367-7FA6E5DB1D2E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D91306F-8F4D-7B72-A677-A8717C4924C2}"/>
              </a:ext>
            </a:extLst>
          </p:cNvPr>
          <p:cNvSpPr txBox="1"/>
          <p:nvPr/>
        </p:nvSpPr>
        <p:spPr>
          <a:xfrm>
            <a:off x="416086" y="388701"/>
            <a:ext cx="58386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/>
                <a:cs typeface="Times" panose="02020603050405020304"/>
              </a:rPr>
              <a:t>Results: MRI data -Additional findings.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82584122-10B5-7502-E6B3-8F3E1448695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2078" y="6194402"/>
            <a:ext cx="1889922" cy="58206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93F858C-D6D5-6C6E-F034-09F4A916AEBF}"/>
              </a:ext>
            </a:extLst>
          </p:cNvPr>
          <p:cNvSpPr/>
          <p:nvPr/>
        </p:nvSpPr>
        <p:spPr>
          <a:xfrm>
            <a:off x="9687268" y="1376188"/>
            <a:ext cx="2366503" cy="2134626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Applied signal intensity thresholding to extracted local residual water and hydrogen saturations</a:t>
            </a: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A clear T2 and T1 shift except in H2 rich regions</a:t>
            </a: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Extensive analysis on-going</a:t>
            </a: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 algn="just"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857250" lvl="1" indent="-400050" algn="just">
              <a:buFont typeface="+mj-lt"/>
              <a:buAutoNum type="romanUcPeriod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4AEA014-E862-54C2-DD33-9397468A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>
                <a:latin typeface="Times" panose="02020603050405020304"/>
                <a:cs typeface="Times" panose="02020603050405020304"/>
              </a:rPr>
              <a:t>11</a:t>
            </a:fld>
            <a:endParaRPr lang="en-US" sz="1800" b="1" dirty="0">
              <a:latin typeface="Times" panose="02020603050405020304"/>
              <a:cs typeface="Times" panose="02020603050405020304"/>
            </a:endParaRPr>
          </a:p>
        </p:txBody>
      </p:sp>
      <p:pic>
        <p:nvPicPr>
          <p:cNvPr id="18" name="Picture 17" descr="A blue and green object with holes&#10;&#10;AI-generated content may be incorrect.">
            <a:extLst>
              <a:ext uri="{FF2B5EF4-FFF2-40B4-BE49-F238E27FC236}">
                <a16:creationId xmlns:a16="http://schemas.microsoft.com/office/drawing/2014/main" id="{A5AC2ED7-46FF-3500-E0ED-B9281161D2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09" y="1467288"/>
            <a:ext cx="3735223" cy="1879895"/>
          </a:xfrm>
          <a:prstGeom prst="rect">
            <a:avLst/>
          </a:prstGeom>
        </p:spPr>
      </p:pic>
      <p:pic>
        <p:nvPicPr>
          <p:cNvPr id="4" name="Picture 3" descr="A graph of a number of blue bars&#10;&#10;AI-generated content may be incorrect.">
            <a:extLst>
              <a:ext uri="{FF2B5EF4-FFF2-40B4-BE49-F238E27FC236}">
                <a16:creationId xmlns:a16="http://schemas.microsoft.com/office/drawing/2014/main" id="{8F33B819-D6D7-2E95-E6E5-DB1993F180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7" y="1403556"/>
            <a:ext cx="2812040" cy="2025444"/>
          </a:xfrm>
          <a:prstGeom prst="rect">
            <a:avLst/>
          </a:prstGeom>
        </p:spPr>
      </p:pic>
      <p:pic>
        <p:nvPicPr>
          <p:cNvPr id="6" name="Picture 5" descr="A graph of blue lines&#10;&#10;AI-generated content may be incorrect.">
            <a:extLst>
              <a:ext uri="{FF2B5EF4-FFF2-40B4-BE49-F238E27FC236}">
                <a16:creationId xmlns:a16="http://schemas.microsoft.com/office/drawing/2014/main" id="{DE26489B-CB3B-A7F0-EA33-4C861159B5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8942" y="1376188"/>
            <a:ext cx="2935845" cy="20801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693C4D-B21C-AC0F-0BDD-71B1722CCC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6" y="3488267"/>
            <a:ext cx="1481043" cy="3320101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7893872-2501-CF9D-0D00-8010D733BEC7}"/>
              </a:ext>
            </a:extLst>
          </p:cNvPr>
          <p:cNvGrpSpPr/>
          <p:nvPr/>
        </p:nvGrpSpPr>
        <p:grpSpPr>
          <a:xfrm>
            <a:off x="1588967" y="3510816"/>
            <a:ext cx="4507033" cy="3316740"/>
            <a:chOff x="1588967" y="3510816"/>
            <a:chExt cx="4507033" cy="331674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C11B831-ED41-AD92-10B2-31A55C0BE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8967" y="3510816"/>
              <a:ext cx="4507033" cy="331674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9305275-E849-48A3-F070-ACC188767DF9}"/>
                </a:ext>
              </a:extLst>
            </p:cNvPr>
            <p:cNvSpPr/>
            <p:nvPr/>
          </p:nvSpPr>
          <p:spPr>
            <a:xfrm>
              <a:off x="2430789" y="3780715"/>
              <a:ext cx="1641482" cy="334086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>
                <a:defRPr/>
              </a:pPr>
              <a:r>
                <a:rPr lang="en-US" sz="14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1 hr after shut-in</a:t>
              </a: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lvl="1"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857250" lvl="1" indent="-400050">
                <a:buFont typeface="+mj-lt"/>
                <a:buAutoNum type="romanUcPeriod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0EBDF18-62E5-CCA0-50D0-F270A6472C53}"/>
              </a:ext>
            </a:extLst>
          </p:cNvPr>
          <p:cNvGrpSpPr/>
          <p:nvPr/>
        </p:nvGrpSpPr>
        <p:grpSpPr>
          <a:xfrm>
            <a:off x="6158679" y="3510814"/>
            <a:ext cx="4507034" cy="3316741"/>
            <a:chOff x="6158679" y="3510814"/>
            <a:chExt cx="4507034" cy="3316741"/>
          </a:xfrm>
        </p:grpSpPr>
        <p:pic>
          <p:nvPicPr>
            <p:cNvPr id="21" name="Picture 20" descr="A graph of a number of numbers&#10;&#10;AI-generated content may be incorrect.">
              <a:extLst>
                <a:ext uri="{FF2B5EF4-FFF2-40B4-BE49-F238E27FC236}">
                  <a16:creationId xmlns:a16="http://schemas.microsoft.com/office/drawing/2014/main" id="{F1C73809-09C6-00A9-0F3D-675882A035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8679" y="3510814"/>
              <a:ext cx="4507034" cy="3316741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A8FACF6-352F-5112-7606-7EBF1094D3A7}"/>
                </a:ext>
              </a:extLst>
            </p:cNvPr>
            <p:cNvSpPr/>
            <p:nvPr/>
          </p:nvSpPr>
          <p:spPr>
            <a:xfrm>
              <a:off x="7157809" y="3716982"/>
              <a:ext cx="1641482" cy="334086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>
                <a:defRPr/>
              </a:pPr>
              <a:r>
                <a:rPr lang="en-US" sz="1400" dirty="0">
                  <a:solidFill>
                    <a:srgbClr val="004A47"/>
                  </a:solidFill>
                  <a:latin typeface="Times" panose="02020603050405020304"/>
                  <a:cs typeface="Times" panose="02020603050405020304"/>
                </a:rPr>
                <a:t>23 hr after shut-in</a:t>
              </a: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lvl="1"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857250" lvl="1" indent="-400050">
                <a:buFont typeface="+mj-lt"/>
                <a:buAutoNum type="romanUcPeriod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endPara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8360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58E5A0-F6CF-42B4-4D59-A2C356093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2BB2EB1E-5B20-0C52-DC52-501DD525436C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08CF5A-BF0D-9D9C-45D9-9563367F8FD9}"/>
              </a:ext>
            </a:extLst>
          </p:cNvPr>
          <p:cNvSpPr txBox="1"/>
          <p:nvPr/>
        </p:nvSpPr>
        <p:spPr>
          <a:xfrm>
            <a:off x="416086" y="388701"/>
            <a:ext cx="41619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Aptos" panose="020B0004020202020204" pitchFamily="34" charset="0"/>
              </a:rPr>
              <a:t>Conclusion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177E4A3-4AB7-6841-5364-22DF94783C7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4300" y="6180573"/>
            <a:ext cx="1889922" cy="58206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66C75BA-04EB-B470-70F7-73CBAEDF6298}"/>
              </a:ext>
            </a:extLst>
          </p:cNvPr>
          <p:cNvSpPr/>
          <p:nvPr/>
        </p:nvSpPr>
        <p:spPr>
          <a:xfrm>
            <a:off x="1026500" y="1712141"/>
            <a:ext cx="8086435" cy="4333875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Experimentally determined microbial hydrogen consumption rates of a sulphate reducer cultivated in sand pack column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>
              <a:defRPr/>
            </a:pPr>
            <a:r>
              <a:rPr lang="en-US" sz="1400" dirty="0">
                <a:solidFill>
                  <a:schemeClr val="accent1"/>
                </a:solidFill>
                <a:latin typeface="Times" panose="02020603050405020304"/>
                <a:cs typeface="Times" panose="02020603050405020304"/>
              </a:rPr>
              <a:t>Rates were 1-2 orders of magnitude higher than in reported literature batch bottle test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Hydrogen consumption decreased with increase in storage time and storage cycle number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Increase in SSA correlated positively with microbial consumption rates especially in the first storage cycle- Consistent with dissolution rate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lvl="1">
              <a:defRPr/>
            </a:pPr>
            <a:r>
              <a:rPr lang="en-US" sz="1400" dirty="0">
                <a:solidFill>
                  <a:schemeClr val="accent1"/>
                </a:solidFill>
                <a:latin typeface="Times" panose="02020603050405020304"/>
                <a:cs typeface="Times" panose="02020603050405020304"/>
              </a:rPr>
              <a:t>Higher rates matched with shorter consumption intervals due to pH limitations</a:t>
            </a:r>
          </a:p>
          <a:p>
            <a:pPr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Observed improved storage capacity (Sw) between drainage cycles in non-sterile pack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Extensive MRI imaging and analysis on going to understand and quantify different </a:t>
            </a:r>
            <a:r>
              <a:rPr lang="en-US" sz="1400" dirty="0" err="1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phenemenon</a:t>
            </a: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Reduction in microbial activity with time in a storage cycle, and between storage cycle number shows a promising outlook for underground hydrogen storage in porous media suggests that hydrogen recovery efficiency and predictability improve over time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6BE6C1-BD14-6CB0-88D4-65E57A0C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12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84682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C1826A5-E596-810B-3C42-536CA5D16632}"/>
              </a:ext>
            </a:extLst>
          </p:cNvPr>
          <p:cNvSpPr/>
          <p:nvPr/>
        </p:nvSpPr>
        <p:spPr>
          <a:xfrm>
            <a:off x="0" y="0"/>
            <a:ext cx="4597400" cy="6868971"/>
          </a:xfrm>
          <a:prstGeom prst="rect">
            <a:avLst/>
          </a:prstGeom>
          <a:solidFill>
            <a:srgbClr val="0249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6EFC5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D32487-20EE-3E4F-A0C1-4B58FA0120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85" y="942826"/>
            <a:ext cx="3992605" cy="2887579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D6EFC5"/>
                </a:solidFill>
                <a:latin typeface="Times" panose="02020603050405020304"/>
                <a:cs typeface="Times" panose="02020603050405020304"/>
              </a:rPr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62DBCC-CB8E-D34F-81FE-8ABBC2005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746" y="4198927"/>
            <a:ext cx="3511336" cy="1525597"/>
          </a:xfrm>
        </p:spPr>
        <p:txBody>
          <a:bodyPr>
            <a:normAutofit/>
          </a:bodyPr>
          <a:lstStyle/>
          <a:p>
            <a:pPr algn="l"/>
            <a:r>
              <a:rPr lang="en-US" sz="2000" dirty="0">
                <a:solidFill>
                  <a:srgbClr val="D6EFC5"/>
                </a:solidFill>
                <a:latin typeface="Times" panose="02020603050405020304"/>
                <a:cs typeface="Times" panose="02020603050405020304"/>
              </a:rPr>
              <a:t>ramus8091@uib.no</a:t>
            </a:r>
          </a:p>
          <a:p>
            <a:pPr algn="l"/>
            <a:r>
              <a:rPr lang="en-US" sz="2000" dirty="0">
                <a:solidFill>
                  <a:srgbClr val="D6EFC5"/>
                </a:solidFill>
                <a:latin typeface="Times" panose="02020603050405020304"/>
                <a:cs typeface="Times" panose="02020603050405020304"/>
              </a:rPr>
              <a:t>cssr.no</a:t>
            </a:r>
          </a:p>
          <a:p>
            <a:endParaRPr lang="en-US" sz="2000" dirty="0">
              <a:solidFill>
                <a:srgbClr val="D6EFC5"/>
              </a:solidFill>
              <a:latin typeface="Times" panose="02020603050405020304"/>
              <a:cs typeface="Times" panose="020206030504050203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4BF8E6-F060-8444-8674-303A19E9D0E4}"/>
              </a:ext>
            </a:extLst>
          </p:cNvPr>
          <p:cNvSpPr txBox="1"/>
          <p:nvPr/>
        </p:nvSpPr>
        <p:spPr>
          <a:xfrm>
            <a:off x="5050621" y="2802104"/>
            <a:ext cx="6925480" cy="1164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" panose="02020603050405020304"/>
                <a:ea typeface="Calibri" panose="020F0502020204030204" pitchFamily="34" charset="0"/>
                <a:cs typeface="Times" panose="02020603050405020304"/>
              </a:rPr>
              <a:t>CSSR is a collaboration between NORCE and the University of Bergen and receives funding from the Research Council of Norway (nr: 331841) and industry stakeholders.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" panose="02020603050405020304"/>
              <a:ea typeface="Calibri" panose="020F0502020204030204" pitchFamily="34" charset="0"/>
              <a:cs typeface="Times" panose="020206030504050203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6CEEE9-1D1B-AE45-81D3-460FB1EAE0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689" y="1883070"/>
            <a:ext cx="1776404" cy="506275"/>
          </a:xfrm>
          <a:prstGeom prst="rect">
            <a:avLst/>
          </a:prstGeom>
        </p:spPr>
      </p:pic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AA7F4F68-4998-F546-A45B-C08FE4BF78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3991" y="1795961"/>
            <a:ext cx="1776404" cy="59065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F1C98E7-5986-D646-8A6C-1E222C16E4B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0326" b="28053"/>
          <a:stretch/>
        </p:blipFill>
        <p:spPr>
          <a:xfrm>
            <a:off x="8670841" y="4262693"/>
            <a:ext cx="1808843" cy="4918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3882A2E-2ABA-2749-AD9B-83A503B4DA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6222" y="5020400"/>
            <a:ext cx="988207" cy="562180"/>
          </a:xfrm>
          <a:prstGeom prst="rect">
            <a:avLst/>
          </a:prstGeom>
        </p:spPr>
      </p:pic>
      <p:pic>
        <p:nvPicPr>
          <p:cNvPr id="24" name="Content Placeholder 41">
            <a:extLst>
              <a:ext uri="{FF2B5EF4-FFF2-40B4-BE49-F238E27FC236}">
                <a16:creationId xmlns:a16="http://schemas.microsoft.com/office/drawing/2014/main" id="{FCD51CC3-7362-AD44-A8E2-DDF036A3DB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74666" y="4198927"/>
            <a:ext cx="1675767" cy="48465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F2F9E3D-F1C0-6B47-BF0B-2D750721F33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8727"/>
          <a:stretch/>
        </p:blipFill>
        <p:spPr>
          <a:xfrm>
            <a:off x="4960868" y="4203838"/>
            <a:ext cx="1516921" cy="60951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0C07692-262B-F24F-8DAD-2D695EE148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64922" y="4294097"/>
            <a:ext cx="2018786" cy="4289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FFC0CF5-4E8B-B043-BBF1-3521313DAD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89118" y="4916371"/>
            <a:ext cx="1634201" cy="9192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CBB623B-595B-254E-917C-3222364F9F0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44290" y="4985288"/>
            <a:ext cx="1530675" cy="86100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7171B5D-A5A1-664C-B498-FA7339BD6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248792" y="6181953"/>
            <a:ext cx="1245106" cy="454799"/>
          </a:xfrm>
          <a:prstGeom prst="rect">
            <a:avLst/>
          </a:prstGeom>
        </p:spPr>
      </p:pic>
      <p:pic>
        <p:nvPicPr>
          <p:cNvPr id="6" name="Picture 5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CC1985F-9457-CBFB-2CCC-DACB810CA0A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96000" y="116994"/>
            <a:ext cx="4711477" cy="1665963"/>
          </a:xfrm>
          <a:prstGeom prst="rect">
            <a:avLst/>
          </a:prstGeom>
        </p:spPr>
      </p:pic>
      <p:pic>
        <p:nvPicPr>
          <p:cNvPr id="11" name="Graphic 10" descr="Envelope with solid fill">
            <a:extLst>
              <a:ext uri="{FF2B5EF4-FFF2-40B4-BE49-F238E27FC236}">
                <a16:creationId xmlns:a16="http://schemas.microsoft.com/office/drawing/2014/main" id="{FD65CD67-08D7-6C45-0E29-C71A44B608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85" y="4212798"/>
            <a:ext cx="379661" cy="379661"/>
          </a:xfrm>
          <a:prstGeom prst="rect">
            <a:avLst/>
          </a:prstGeom>
        </p:spPr>
      </p:pic>
      <p:pic>
        <p:nvPicPr>
          <p:cNvPr id="13" name="Graphic 12" descr="Internet with solid fill">
            <a:extLst>
              <a:ext uri="{FF2B5EF4-FFF2-40B4-BE49-F238E27FC236}">
                <a16:creationId xmlns:a16="http://schemas.microsoft.com/office/drawing/2014/main" id="{17113309-9EEF-A0B6-1FFB-70ED3BDD964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5978" y="4568331"/>
            <a:ext cx="452069" cy="4520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F6ED998-CF7D-9F05-F9A6-A5381CD5EBD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144191" y="6312562"/>
            <a:ext cx="2202494" cy="1935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9C1D19-5775-84BE-5265-272B70381E4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915747" y="1645758"/>
            <a:ext cx="2996993" cy="10080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761972-6728-F8AD-1E57-623402751E8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786492" y="6002126"/>
            <a:ext cx="1025336" cy="72134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49E89F8-6860-244E-2411-D82A212EE7F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81821" y="5005735"/>
            <a:ext cx="1299229" cy="91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5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A834A731-7A17-367D-85A4-21852338AAF0}"/>
              </a:ext>
            </a:extLst>
          </p:cNvPr>
          <p:cNvSpPr/>
          <p:nvPr/>
        </p:nvSpPr>
        <p:spPr>
          <a:xfrm>
            <a:off x="1601292" y="5202591"/>
            <a:ext cx="3171062" cy="1079685"/>
          </a:xfrm>
          <a:prstGeom prst="roundRect">
            <a:avLst>
              <a:gd name="adj" fmla="val 7267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79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86B0C6-F989-FC02-BA7D-AF6D82481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161" y="1149618"/>
            <a:ext cx="6742671" cy="378575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5868A24-FCB0-9C63-E91D-3A366402F35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84069" y="92008"/>
            <a:ext cx="3557681" cy="1095712"/>
          </a:xfrm>
          <a:prstGeom prst="rect">
            <a:avLst/>
          </a:prstGeom>
        </p:spPr>
      </p:pic>
      <p:pic>
        <p:nvPicPr>
          <p:cNvPr id="24" name="Graphic 23" descr="Open hand with plant with solid fill">
            <a:extLst>
              <a:ext uri="{FF2B5EF4-FFF2-40B4-BE49-F238E27FC236}">
                <a16:creationId xmlns:a16="http://schemas.microsoft.com/office/drawing/2014/main" id="{DE5D4D81-1873-FAF5-ED56-47B3022294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22190" y="4237795"/>
            <a:ext cx="535628" cy="535628"/>
          </a:xfrm>
          <a:prstGeom prst="rect">
            <a:avLst/>
          </a:prstGeom>
        </p:spPr>
      </p:pic>
      <p:pic>
        <p:nvPicPr>
          <p:cNvPr id="30" name="Graphic 29" descr="Battery charging with solid fill">
            <a:extLst>
              <a:ext uri="{FF2B5EF4-FFF2-40B4-BE49-F238E27FC236}">
                <a16:creationId xmlns:a16="http://schemas.microsoft.com/office/drawing/2014/main" id="{82CBC8F8-209B-8C76-E806-BA62575C58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32295" y="2425079"/>
            <a:ext cx="315419" cy="315419"/>
          </a:xfrm>
          <a:prstGeom prst="rect">
            <a:avLst/>
          </a:prstGeom>
        </p:spPr>
      </p:pic>
      <p:pic>
        <p:nvPicPr>
          <p:cNvPr id="32" name="Graphic 31" descr="Open hand with plant with solid fill">
            <a:extLst>
              <a:ext uri="{FF2B5EF4-FFF2-40B4-BE49-F238E27FC236}">
                <a16:creationId xmlns:a16="http://schemas.microsoft.com/office/drawing/2014/main" id="{DE7A4698-7D64-7E04-67DD-1AAB43E1A9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14552" y="3245066"/>
            <a:ext cx="350905" cy="350905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62E5BF43-E8EF-DFA3-47DD-5D167099530F}"/>
              </a:ext>
            </a:extLst>
          </p:cNvPr>
          <p:cNvGrpSpPr/>
          <p:nvPr/>
        </p:nvGrpSpPr>
        <p:grpSpPr>
          <a:xfrm>
            <a:off x="7192929" y="1149619"/>
            <a:ext cx="4544117" cy="1059892"/>
            <a:chOff x="374366" y="1998670"/>
            <a:chExt cx="3513566" cy="887869"/>
          </a:xfrm>
        </p:grpSpPr>
        <p:sp>
          <p:nvSpPr>
            <p:cNvPr id="29" name="Rounded Rectangle 61">
              <a:extLst>
                <a:ext uri="{FF2B5EF4-FFF2-40B4-BE49-F238E27FC236}">
                  <a16:creationId xmlns:a16="http://schemas.microsoft.com/office/drawing/2014/main" id="{C4A643F3-1B07-4043-DB2D-7D353E474755}"/>
                </a:ext>
              </a:extLst>
            </p:cNvPr>
            <p:cNvSpPr/>
            <p:nvPr/>
          </p:nvSpPr>
          <p:spPr>
            <a:xfrm>
              <a:off x="374366" y="1998670"/>
              <a:ext cx="3513566" cy="887869"/>
            </a:xfrm>
            <a:prstGeom prst="roundRect">
              <a:avLst>
                <a:gd name="adj" fmla="val 7267"/>
              </a:avLst>
            </a:prstGeom>
            <a:solidFill>
              <a:srgbClr val="D7F0C6"/>
            </a:solidFill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b"/>
            <a:lstStyle/>
            <a:p>
              <a:pPr marL="53657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14947"/>
                  </a:solidFill>
                  <a:effectLst/>
                  <a:uLnTx/>
                  <a:uFillTx/>
                  <a:latin typeface="Times" panose="02020603050405020304" pitchFamily="18" charset="0"/>
                  <a:cs typeface="Times" panose="02020603050405020304" pitchFamily="18" charset="0"/>
                </a:rPr>
                <a:t>Scalable solutions for subsurface storage of hydrogen, air, and thermal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14947"/>
                </a:solidFill>
                <a:effectLst/>
                <a:uLnTx/>
                <a:uFillTx/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  <p:sp>
          <p:nvSpPr>
            <p:cNvPr id="34" name="Rounded Rectangle 63">
              <a:extLst>
                <a:ext uri="{FF2B5EF4-FFF2-40B4-BE49-F238E27FC236}">
                  <a16:creationId xmlns:a16="http://schemas.microsoft.com/office/drawing/2014/main" id="{F196FE60-5037-8330-22A6-0BEC9C99E92E}"/>
                </a:ext>
              </a:extLst>
            </p:cNvPr>
            <p:cNvSpPr/>
            <p:nvPr/>
          </p:nvSpPr>
          <p:spPr>
            <a:xfrm>
              <a:off x="576494" y="2044609"/>
              <a:ext cx="2989317" cy="284715"/>
            </a:xfrm>
            <a:prstGeom prst="roundRect">
              <a:avLst>
                <a:gd name="adj" fmla="val 7267"/>
              </a:avLst>
            </a:prstGeom>
            <a:no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22C76"/>
                  </a:solidFill>
                  <a:effectLst/>
                  <a:uLnTx/>
                  <a:uFillTx/>
                  <a:latin typeface="Times" panose="02020603050405020304" pitchFamily="18" charset="0"/>
                  <a:cs typeface="Times" panose="02020603050405020304" pitchFamily="18" charset="0"/>
                </a:rPr>
                <a:t>Energy storage in the subsurface</a:t>
              </a:r>
            </a:p>
          </p:txBody>
        </p:sp>
      </p:grpSp>
      <p:pic>
        <p:nvPicPr>
          <p:cNvPr id="38" name="Graphic 37" descr="Laptop with solid fill">
            <a:extLst>
              <a:ext uri="{FF2B5EF4-FFF2-40B4-BE49-F238E27FC236}">
                <a16:creationId xmlns:a16="http://schemas.microsoft.com/office/drawing/2014/main" id="{C5C24D1A-06CC-700C-E95B-57486853E9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04117" y="4186080"/>
            <a:ext cx="371774" cy="371774"/>
          </a:xfrm>
          <a:prstGeom prst="rect">
            <a:avLst/>
          </a:prstGeom>
        </p:spPr>
      </p:pic>
      <p:pic>
        <p:nvPicPr>
          <p:cNvPr id="41" name="Graphic 40" descr="Head with gears with solid fill">
            <a:extLst>
              <a:ext uri="{FF2B5EF4-FFF2-40B4-BE49-F238E27FC236}">
                <a16:creationId xmlns:a16="http://schemas.microsoft.com/office/drawing/2014/main" id="{E4070F9B-2DFF-3321-BC0B-E7EB7FAB2C2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0296" y="5142466"/>
            <a:ext cx="296058" cy="296058"/>
          </a:xfrm>
          <a:prstGeom prst="rect">
            <a:avLst/>
          </a:prstGeom>
        </p:spPr>
      </p:pic>
      <p:pic>
        <p:nvPicPr>
          <p:cNvPr id="47" name="Picture 2" descr="Diagram&#10;&#10;Description automatically generated">
            <a:extLst>
              <a:ext uri="{FF2B5EF4-FFF2-40B4-BE49-F238E27FC236}">
                <a16:creationId xmlns:a16="http://schemas.microsoft.com/office/drawing/2014/main" id="{D912D69E-B453-B8F9-16E4-70B56EF10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92929" y="2320092"/>
            <a:ext cx="4544118" cy="261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A1BDFBC-33AA-19C7-C8E4-130ACB54E64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6161" y="4963072"/>
            <a:ext cx="5659990" cy="1874544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FD1C7BBE-6879-F2EC-DE85-C9294B2FE817}"/>
              </a:ext>
            </a:extLst>
          </p:cNvPr>
          <p:cNvSpPr txBox="1"/>
          <p:nvPr/>
        </p:nvSpPr>
        <p:spPr>
          <a:xfrm>
            <a:off x="6476845" y="5438524"/>
            <a:ext cx="5073805" cy="7571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  <a:latin typeface="Times" panose="02020603050405020304" pitchFamily="18" charset="0"/>
                <a:ea typeface="Calibri"/>
                <a:cs typeface="Times" panose="02020603050405020304" pitchFamily="18" charset="0"/>
              </a:rPr>
              <a:t>How can we explicitly measure hydrogen loss due to microbial activities in subsurface storage reservoirs for predictive storage and recovery efficiency</a:t>
            </a:r>
            <a:r>
              <a:rPr lang="en-US" sz="1600" b="1" dirty="0">
                <a:solidFill>
                  <a:srgbClr val="FF0000"/>
                </a:solidFill>
                <a:latin typeface="Times" panose="02020603050405020304" pitchFamily="18" charset="0"/>
                <a:ea typeface="Calibri"/>
                <a:cs typeface="Times" panose="02020603050405020304" pitchFamily="18" charset="0"/>
              </a:rPr>
              <a:t>???</a:t>
            </a:r>
            <a:endParaRPr lang="en-US" sz="1600" b="1" i="1" u="none" strike="noStrike" dirty="0">
              <a:solidFill>
                <a:srgbClr val="FF0000"/>
              </a:solidFill>
              <a:effectLst/>
              <a:latin typeface="Times" panose="02020603050405020304" pitchFamily="18" charset="0"/>
              <a:ea typeface="Calibri"/>
              <a:cs typeface="Times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1115265-7A7C-257A-20E0-DE64456E1453}"/>
              </a:ext>
            </a:extLst>
          </p:cNvPr>
          <p:cNvSpPr/>
          <p:nvPr/>
        </p:nvSpPr>
        <p:spPr>
          <a:xfrm>
            <a:off x="440511" y="6229350"/>
            <a:ext cx="5426889" cy="122776"/>
          </a:xfrm>
          <a:prstGeom prst="rect">
            <a:avLst/>
          </a:prstGeom>
          <a:solidFill>
            <a:srgbClr val="FF0000">
              <a:alpha val="11000"/>
            </a:srgbClr>
          </a:solidFill>
          <a:ln w="381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61BDB-2080-AB34-B6AC-2838A0A37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4299" y="6352126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2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636636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5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3E2F71-68FA-AE43-D556-2CB272BF3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7617C7A1-81BF-1B0D-8941-4437C18F21D0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63E170-7799-D7FC-7D6E-369CE41D5EE9}"/>
              </a:ext>
            </a:extLst>
          </p:cNvPr>
          <p:cNvSpPr txBox="1"/>
          <p:nvPr/>
        </p:nvSpPr>
        <p:spPr>
          <a:xfrm>
            <a:off x="416086" y="388701"/>
            <a:ext cx="29262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Study motivation: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CDB28076-C370-BC74-F506-6F61FB0E124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7253" y="6194404"/>
            <a:ext cx="1889922" cy="58206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47237192-362D-6704-4531-C7C2C040E5B9}"/>
                  </a:ext>
                </a:extLst>
              </p:cNvPr>
              <p:cNvSpPr/>
              <p:nvPr/>
            </p:nvSpPr>
            <p:spPr>
              <a:xfrm>
                <a:off x="279062" y="2059333"/>
                <a:ext cx="4813638" cy="3866162"/>
              </a:xfrm>
              <a:prstGeom prst="rect">
                <a:avLst/>
              </a:prstGeom>
              <a:solidFill>
                <a:srgbClr val="D6EFC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marL="171450" indent="-171450">
                  <a:buFont typeface="Wingdings" panose="05000000000000000000" pitchFamily="2" charset="2"/>
                  <a:buChar char="Ø"/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ea typeface="Calibri"/>
                    <a:cs typeface="Times" panose="02020603050405020304" pitchFamily="18" charset="0"/>
                  </a:rPr>
                  <a:t>Need for empirical data for predictive modeling –fine tuning existing/developing correlation or direct input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  <a:defRPr/>
                </a:pPr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ea typeface="Calibri"/>
                  <a:cs typeface="Times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ea typeface="Calibri"/>
                    <a:cs typeface="Times" panose="02020603050405020304" pitchFamily="18" charset="0"/>
                  </a:rPr>
                  <a:t>Hydrogen loss to microbial consumption in porous rocks contributes to overall recovery inefficiencies in addition to other loss mechanisms such as residual trapping, dissolution, leakages, among others.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  <a:defRPr/>
                </a:pPr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ea typeface="Calibri"/>
                  <a:cs typeface="Times" panose="02020603050405020304" pitchFamily="18" charset="0"/>
                </a:endParaRPr>
              </a:p>
              <a:p>
                <a:pPr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Batch bottle area, 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000" i="1" smtClean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</m:ctrlPr>
                      </m:fPr>
                      <m:num>
                        <m:r>
                          <m:rPr>
                            <m:nor/>
                          </m:rPr>
                          <a:rPr lang="nb-NO" sz="1000" dirty="0">
                            <a:solidFill>
                              <a:srgbClr val="004A47"/>
                            </a:solidFill>
                            <a:latin typeface="Times" panose="02020603050405020304" pitchFamily="18" charset="0"/>
                            <a:cs typeface="Times" panose="02020603050405020304" pitchFamily="18" charset="0"/>
                          </a:rPr>
                          <m:t>πd</m:t>
                        </m:r>
                        <m:r>
                          <m:rPr>
                            <m:nor/>
                          </m:rPr>
                          <a:rPr lang="nb-NO" sz="1100" baseline="30000" dirty="0">
                            <a:solidFill>
                              <a:prstClr val="black"/>
                            </a:solidFill>
                            <a:latin typeface="Times" panose="02020603050405020304" pitchFamily="18" charset="0"/>
                            <a:cs typeface="Times" panose="02020603050405020304" pitchFamily="18" charset="0"/>
                          </a:rPr>
                          <m:t>2</m:t>
                        </m:r>
                      </m:num>
                      <m:den>
                        <m:r>
                          <a:rPr lang="en-US" sz="1000" b="0" i="0" smtClean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4</m:t>
                        </m:r>
                      </m:den>
                    </m:f>
                    <m: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</m:oMath>
                </a14:m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  <a:p>
                <a:pPr>
                  <a:defRPr/>
                </a:pPr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ea typeface="Calibri"/>
                  <a:cs typeface="Times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ea typeface="Calibri"/>
                    <a:cs typeface="Times" panose="02020603050405020304" pitchFamily="18" charset="0"/>
                  </a:rPr>
                  <a:t>Reservoir rocks composed of pores and pore throats with varying surfaces that can potentially catalyze bio-geochemical reactions during UHS – need for better accuracy</a:t>
                </a:r>
              </a:p>
              <a:p>
                <a:pPr>
                  <a:defRPr/>
                </a:pPr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  <a:p>
                <a:pPr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Porous media area (Rabbani et.al (2014), A = 4.23</a:t>
                </a:r>
                <a14:m>
                  <m:oMath xmlns:m="http://schemas.openxmlformats.org/officeDocument/2006/math">
                    <m:r>
                      <a:rPr lang="nb-NO" sz="1000" i="0" dirty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  <m:r>
                      <m:rPr>
                        <m:sty m:val="p"/>
                      </m:rPr>
                      <a:rPr lang="nb-NO" sz="1000" b="0" i="0" dirty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x</m:t>
                    </m:r>
                    <m:r>
                      <a:rPr lang="nb-NO" sz="1000" b="0" i="0" dirty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  <m:f>
                      <m:fPr>
                        <m:ctrlPr>
                          <a:rPr lang="en-US" sz="1000" i="1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</m:ctrlPr>
                      </m:fPr>
                      <m:num>
                        <m:r>
                          <a:rPr lang="nb-NO" sz="1000" b="0" i="0" smtClean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(</m:t>
                        </m:r>
                        <m:r>
                          <a:rPr lang="nb-NO" sz="1000" i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1−</m:t>
                        </m:r>
                        <m:r>
                          <m:rPr>
                            <m:sty m:val="p"/>
                          </m:rPr>
                          <a:rPr lang="el-GR" sz="1000" i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Φ</m:t>
                        </m:r>
                        <m:r>
                          <a:rPr lang="nb-NO" sz="1000" b="0" i="0" smtClean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nb-NO" sz="1000" i="0">
                            <a:solidFill>
                              <a:srgbClr val="004A47"/>
                            </a:solidFill>
                            <a:latin typeface="Cambria Math" panose="02040503050406030204" pitchFamily="18" charset="0"/>
                            <a:cs typeface="Calibri"/>
                          </a:rPr>
                          <m:t>d</m:t>
                        </m:r>
                      </m:den>
                    </m:f>
                    <m: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  <m:r>
                      <m:rPr>
                        <m:sty m:val="p"/>
                      </m:rP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x</m:t>
                    </m:r>
                    <m: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  <m:r>
                      <m:rPr>
                        <m:sty m:val="p"/>
                      </m:rP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grain</m:t>
                    </m:r>
                    <m: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 </m:t>
                    </m:r>
                    <m:r>
                      <m:rPr>
                        <m:sty m:val="p"/>
                      </m:rPr>
                      <a:rPr lang="nb-NO" sz="1000" b="0" i="0" smtClean="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Calibri"/>
                      </a:rPr>
                      <m:t>volume</m:t>
                    </m:r>
                  </m:oMath>
                </a14:m>
                <a:endParaRPr lang="en-US" sz="1000" b="0" dirty="0">
                  <a:solidFill>
                    <a:srgbClr val="004A47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  <a:p>
                <a:pPr>
                  <a:defRPr/>
                </a:pPr>
                <a:endParaRPr lang="en-US" sz="1000" i="1" dirty="0">
                  <a:solidFill>
                    <a:srgbClr val="004A47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  <a:p>
                <a:pPr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Where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000">
                        <a:solidFill>
                          <a:srgbClr val="004A47"/>
                        </a:solidFill>
                        <a:latin typeface="Cambria Math" panose="02040503050406030204" pitchFamily="18" charset="0"/>
                        <a:cs typeface="Times" panose="02020603050405020304" pitchFamily="18" charset="0"/>
                      </a:rPr>
                      <m:t>Φ</m:t>
                    </m:r>
                  </m:oMath>
                </a14:m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 is the average porosity, d average grain diameter</a:t>
                </a:r>
              </a:p>
              <a:p>
                <a:pPr>
                  <a:defRPr/>
                </a:pPr>
                <a:endParaRPr lang="en-US" sz="1000" dirty="0">
                  <a:solidFill>
                    <a:srgbClr val="004A47"/>
                  </a:solidFill>
                  <a:latin typeface="Times" panose="02020603050405020304" pitchFamily="18" charset="0"/>
                  <a:ea typeface="Calibri"/>
                  <a:cs typeface="Times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  <a:defRPr/>
                </a:pPr>
                <a:r>
                  <a:rPr lang="en-US" sz="1000" dirty="0">
                    <a:solidFill>
                      <a:srgbClr val="004A47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The difference in  areas can be several orders of magnitude and could hence play a role in catalyzing hydrogen consumption rates and amounts consumed. </a:t>
                </a:r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47237192-362D-6704-4531-C7C2C040E5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062" y="2059333"/>
                <a:ext cx="4813638" cy="386616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nb-NO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Group 20">
            <a:extLst>
              <a:ext uri="{FF2B5EF4-FFF2-40B4-BE49-F238E27FC236}">
                <a16:creationId xmlns:a16="http://schemas.microsoft.com/office/drawing/2014/main" id="{9DAD094B-DC01-EE69-9CE1-F5C1E6E08456}"/>
              </a:ext>
            </a:extLst>
          </p:cNvPr>
          <p:cNvGrpSpPr/>
          <p:nvPr/>
        </p:nvGrpSpPr>
        <p:grpSpPr>
          <a:xfrm>
            <a:off x="7348053" y="1629405"/>
            <a:ext cx="4599274" cy="4301435"/>
            <a:chOff x="7348053" y="1629405"/>
            <a:chExt cx="4599274" cy="4301435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BBC9630-E7AF-C082-6618-958F8D3EE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8053" y="2080738"/>
              <a:ext cx="4599274" cy="3411300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53C722F-8A2F-FA07-466C-ABBB816F7E41}"/>
                </a:ext>
              </a:extLst>
            </p:cNvPr>
            <p:cNvSpPr/>
            <p:nvPr/>
          </p:nvSpPr>
          <p:spPr>
            <a:xfrm>
              <a:off x="7348053" y="5564101"/>
              <a:ext cx="4583426" cy="366739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endParaRPr lang="nb-NO" sz="1050" dirty="0">
                <a:solidFill>
                  <a:schemeClr val="tx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  <a:p>
              <a:pPr algn="ctr">
                <a:defRPr/>
              </a:pPr>
              <a:r>
                <a:rPr lang="nb-NO" sz="1050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rPr>
                <a:t>Micro CT images of rock samples from Rabbani et al. (2014) with grain size (a) 0.18 mm, (b) 0.35 mm, (c) 0.15 mm and (f) 0.25 mm, </a:t>
              </a:r>
            </a:p>
            <a:p>
              <a:pPr algn="ctr">
                <a:defRPr/>
              </a:pPr>
              <a:endParaRPr lang="en-US" sz="105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859E6ED-6FD2-9BCD-8F9E-C430DD1F895A}"/>
                </a:ext>
              </a:extLst>
            </p:cNvPr>
            <p:cNvSpPr/>
            <p:nvPr/>
          </p:nvSpPr>
          <p:spPr>
            <a:xfrm>
              <a:off x="8986812" y="1629405"/>
              <a:ext cx="1305908" cy="374344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nb-NO" sz="1050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rPr>
                <a:t>Porous media case</a:t>
              </a:r>
              <a:endParaRPr lang="en-US" sz="1050" dirty="0">
                <a:solidFill>
                  <a:schemeClr val="tx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2AE82F-8E55-E1A1-FB2C-FCABEBE38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3</a:t>
            </a:fld>
            <a:endParaRPr lang="en-US" sz="1800" b="1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C88FFC4-713E-C749-A072-7F9D4A80F5F6}"/>
              </a:ext>
            </a:extLst>
          </p:cNvPr>
          <p:cNvGrpSpPr/>
          <p:nvPr/>
        </p:nvGrpSpPr>
        <p:grpSpPr>
          <a:xfrm>
            <a:off x="5173073" y="2743522"/>
            <a:ext cx="2080510" cy="3150158"/>
            <a:chOff x="5173073" y="2743522"/>
            <a:chExt cx="2080510" cy="31501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2F7DBC9-FE90-DD69-0EF2-DA5BA1EC15DD}"/>
                </a:ext>
              </a:extLst>
            </p:cNvPr>
            <p:cNvGrpSpPr/>
            <p:nvPr/>
          </p:nvGrpSpPr>
          <p:grpSpPr>
            <a:xfrm>
              <a:off x="5173073" y="2743522"/>
              <a:ext cx="2080510" cy="3150158"/>
              <a:chOff x="5173073" y="2743522"/>
              <a:chExt cx="2080510" cy="3150158"/>
            </a:xfrm>
          </p:grpSpPr>
          <p:sp>
            <p:nvSpPr>
              <p:cNvPr id="5" name="Cylinder 4">
                <a:extLst>
                  <a:ext uri="{FF2B5EF4-FFF2-40B4-BE49-F238E27FC236}">
                    <a16:creationId xmlns:a16="http://schemas.microsoft.com/office/drawing/2014/main" id="{9F2FF687-02C0-4865-AFD4-A34FE1755149}"/>
                  </a:ext>
                </a:extLst>
              </p:cNvPr>
              <p:cNvSpPr/>
              <p:nvPr/>
            </p:nvSpPr>
            <p:spPr>
              <a:xfrm>
                <a:off x="5558795" y="3413242"/>
                <a:ext cx="1182414" cy="2041635"/>
              </a:xfrm>
              <a:prstGeom prst="can">
                <a:avLst/>
              </a:pr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2700000" scaled="1"/>
                <a:tileRect/>
              </a:gra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6" name="Cylinder 5">
                <a:extLst>
                  <a:ext uri="{FF2B5EF4-FFF2-40B4-BE49-F238E27FC236}">
                    <a16:creationId xmlns:a16="http://schemas.microsoft.com/office/drawing/2014/main" id="{EE18BFDC-1A97-7312-2622-D29559005D81}"/>
                  </a:ext>
                </a:extLst>
              </p:cNvPr>
              <p:cNvSpPr/>
              <p:nvPr/>
            </p:nvSpPr>
            <p:spPr>
              <a:xfrm>
                <a:off x="5945050" y="3338486"/>
                <a:ext cx="409903" cy="268014"/>
              </a:xfrm>
              <a:prstGeom prst="can">
                <a:avLst/>
              </a:prstGeom>
              <a:solidFill>
                <a:srgbClr val="D624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7" name="Cylinder 6">
                <a:extLst>
                  <a:ext uri="{FF2B5EF4-FFF2-40B4-BE49-F238E27FC236}">
                    <a16:creationId xmlns:a16="http://schemas.microsoft.com/office/drawing/2014/main" id="{3D862626-5432-4DC0-6ADF-D785FB204336}"/>
                  </a:ext>
                </a:extLst>
              </p:cNvPr>
              <p:cNvSpPr/>
              <p:nvPr/>
            </p:nvSpPr>
            <p:spPr>
              <a:xfrm>
                <a:off x="5552146" y="4528782"/>
                <a:ext cx="1182414" cy="926095"/>
              </a:xfrm>
              <a:prstGeom prst="can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36202077-212D-2B64-E098-14CBD024B239}"/>
                  </a:ext>
                </a:extLst>
              </p:cNvPr>
              <p:cNvSpPr/>
              <p:nvPr/>
            </p:nvSpPr>
            <p:spPr>
              <a:xfrm>
                <a:off x="5650377" y="5280561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D13CB5F6-2088-651E-ABF3-C359D00DBA8F}"/>
                  </a:ext>
                </a:extLst>
              </p:cNvPr>
              <p:cNvSpPr/>
              <p:nvPr/>
            </p:nvSpPr>
            <p:spPr>
              <a:xfrm>
                <a:off x="6176896" y="5240157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0ADF00B-5217-F620-6CEC-66CDAFB7700A}"/>
                  </a:ext>
                </a:extLst>
              </p:cNvPr>
              <p:cNvSpPr/>
              <p:nvPr/>
            </p:nvSpPr>
            <p:spPr>
              <a:xfrm>
                <a:off x="6593009" y="5282769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593CFB8-F0DD-AC01-EEF5-923073763F97}"/>
                  </a:ext>
                </a:extLst>
              </p:cNvPr>
              <p:cNvSpPr/>
              <p:nvPr/>
            </p:nvSpPr>
            <p:spPr>
              <a:xfrm rot="8662105">
                <a:off x="6114791" y="4828241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967FAA7A-F598-4D1C-22A5-82DA2341414A}"/>
                  </a:ext>
                </a:extLst>
              </p:cNvPr>
              <p:cNvSpPr/>
              <p:nvPr/>
            </p:nvSpPr>
            <p:spPr>
              <a:xfrm>
                <a:off x="6465281" y="5037133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52977AC-6A5C-EFFD-C620-5ABF51FFE26F}"/>
                  </a:ext>
                </a:extLst>
              </p:cNvPr>
              <p:cNvSpPr/>
              <p:nvPr/>
            </p:nvSpPr>
            <p:spPr>
              <a:xfrm rot="6030466">
                <a:off x="6267191" y="4824891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F3F31F5-2783-F60B-2493-A0F78674C7A6}"/>
                  </a:ext>
                </a:extLst>
              </p:cNvPr>
              <p:cNvSpPr/>
              <p:nvPr/>
            </p:nvSpPr>
            <p:spPr>
              <a:xfrm rot="2126579">
                <a:off x="5651423" y="4733915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AC10091-3D68-1EED-2F6F-042A6631AA31}"/>
                  </a:ext>
                </a:extLst>
              </p:cNvPr>
              <p:cNvSpPr/>
              <p:nvPr/>
            </p:nvSpPr>
            <p:spPr>
              <a:xfrm>
                <a:off x="5868108" y="4809846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ED1A8C1F-C0EA-FA30-EA33-2080B778B50E}"/>
                  </a:ext>
                </a:extLst>
              </p:cNvPr>
              <p:cNvSpPr/>
              <p:nvPr/>
            </p:nvSpPr>
            <p:spPr>
              <a:xfrm rot="19204064">
                <a:off x="5728067" y="5064603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F509965C-6484-9716-09BC-87CB8599DA94}"/>
                  </a:ext>
                </a:extLst>
              </p:cNvPr>
              <p:cNvSpPr/>
              <p:nvPr/>
            </p:nvSpPr>
            <p:spPr>
              <a:xfrm rot="20511930">
                <a:off x="6442450" y="4816662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833B98A2-1BF4-3D3F-2F1A-F9C8F0DE6F19}"/>
                  </a:ext>
                </a:extLst>
              </p:cNvPr>
              <p:cNvSpPr/>
              <p:nvPr/>
            </p:nvSpPr>
            <p:spPr>
              <a:xfrm>
                <a:off x="6594849" y="4794672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F5BEC5B-6900-2B0A-07F7-1739443DA9AD}"/>
                  </a:ext>
                </a:extLst>
              </p:cNvPr>
              <p:cNvSpPr txBox="1"/>
              <p:nvPr/>
            </p:nvSpPr>
            <p:spPr>
              <a:xfrm>
                <a:off x="5975278" y="3921729"/>
                <a:ext cx="44112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200" dirty="0">
                    <a:solidFill>
                      <a:srgbClr val="C00000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H2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3E24EEE-F723-7D48-D83B-1B400C425176}"/>
                  </a:ext>
                </a:extLst>
              </p:cNvPr>
              <p:cNvSpPr txBox="1"/>
              <p:nvPr/>
            </p:nvSpPr>
            <p:spPr>
              <a:xfrm>
                <a:off x="5882850" y="4911647"/>
                <a:ext cx="59205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200" dirty="0">
                    <a:solidFill>
                      <a:schemeClr val="bg1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Brine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60DB501-317B-2ECD-693F-CEC35B40DEC2}"/>
                  </a:ext>
                </a:extLst>
              </p:cNvPr>
              <p:cNvSpPr/>
              <p:nvPr/>
            </p:nvSpPr>
            <p:spPr>
              <a:xfrm>
                <a:off x="5173073" y="5519336"/>
                <a:ext cx="2080510" cy="374344"/>
              </a:xfrm>
              <a:prstGeom prst="rect">
                <a:avLst/>
              </a:prstGeom>
              <a:solidFill>
                <a:srgbClr val="D6EFC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b-NO" sz="1050" dirty="0">
                    <a:solidFill>
                      <a:schemeClr val="tx1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Illustration of a stationary batch  bottle test</a:t>
                </a:r>
                <a:endParaRPr lang="en-US" sz="1050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43AF486-16DE-58FF-410A-91CE68D326FC}"/>
                  </a:ext>
                </a:extLst>
              </p:cNvPr>
              <p:cNvSpPr/>
              <p:nvPr/>
            </p:nvSpPr>
            <p:spPr>
              <a:xfrm>
                <a:off x="5413702" y="2743522"/>
                <a:ext cx="1320858" cy="374344"/>
              </a:xfrm>
              <a:prstGeom prst="rect">
                <a:avLst/>
              </a:prstGeom>
              <a:solidFill>
                <a:srgbClr val="D6EFC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>
                  <a:defRPr/>
                </a:pPr>
                <a:r>
                  <a:rPr lang="nb-NO" sz="1050" dirty="0">
                    <a:solidFill>
                      <a:schemeClr val="tx1"/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Bottle case</a:t>
                </a:r>
                <a:endParaRPr lang="en-US" sz="1050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E177F2A-EBA0-EB78-7B5F-A0C027A2C50A}"/>
                  </a:ext>
                </a:extLst>
              </p:cNvPr>
              <p:cNvSpPr/>
              <p:nvPr/>
            </p:nvSpPr>
            <p:spPr>
              <a:xfrm rot="16025011">
                <a:off x="6525286" y="4617029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C34672B8-EF02-840B-60A8-A9F1AE9448A6}"/>
                  </a:ext>
                </a:extLst>
              </p:cNvPr>
              <p:cNvSpPr/>
              <p:nvPr/>
            </p:nvSpPr>
            <p:spPr>
              <a:xfrm rot="18118991">
                <a:off x="6142008" y="4668467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F279035-F0B4-18BB-B182-18864483A01C}"/>
                  </a:ext>
                </a:extLst>
              </p:cNvPr>
              <p:cNvSpPr/>
              <p:nvPr/>
            </p:nvSpPr>
            <p:spPr>
              <a:xfrm rot="5972778">
                <a:off x="6374802" y="4552516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DE63094-1BED-0A38-1594-88A8CC6DCE39}"/>
                  </a:ext>
                </a:extLst>
              </p:cNvPr>
              <p:cNvSpPr/>
              <p:nvPr/>
            </p:nvSpPr>
            <p:spPr>
              <a:xfrm>
                <a:off x="5837131" y="4592395"/>
                <a:ext cx="45719" cy="70945"/>
              </a:xfrm>
              <a:custGeom>
                <a:avLst/>
                <a:gdLst>
                  <a:gd name="connsiteX0" fmla="*/ 0 w 165548"/>
                  <a:gd name="connsiteY0" fmla="*/ 0 h 134007"/>
                  <a:gd name="connsiteX1" fmla="*/ 102476 w 165548"/>
                  <a:gd name="connsiteY1" fmla="*/ 55179 h 134007"/>
                  <a:gd name="connsiteX2" fmla="*/ 141890 w 165548"/>
                  <a:gd name="connsiteY2" fmla="*/ 63062 h 134007"/>
                  <a:gd name="connsiteX3" fmla="*/ 149773 w 165548"/>
                  <a:gd name="connsiteY3" fmla="*/ 86710 h 134007"/>
                  <a:gd name="connsiteX4" fmla="*/ 165538 w 165548"/>
                  <a:gd name="connsiteY4" fmla="*/ 134007 h 13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548" h="134007">
                    <a:moveTo>
                      <a:pt x="0" y="0"/>
                    </a:moveTo>
                    <a:cubicBezTo>
                      <a:pt x="37436" y="62391"/>
                      <a:pt x="8625" y="36409"/>
                      <a:pt x="102476" y="55179"/>
                    </a:cubicBezTo>
                    <a:lnTo>
                      <a:pt x="141890" y="63062"/>
                    </a:lnTo>
                    <a:cubicBezTo>
                      <a:pt x="144518" y="70945"/>
                      <a:pt x="146856" y="78930"/>
                      <a:pt x="149773" y="86710"/>
                    </a:cubicBezTo>
                    <a:cubicBezTo>
                      <a:pt x="166514" y="131353"/>
                      <a:pt x="165538" y="111456"/>
                      <a:pt x="165538" y="134007"/>
                    </a:cubicBezTo>
                  </a:path>
                </a:pathLst>
              </a:cu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</p:grp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A08F2C2-8389-482A-4AC0-94B123438CCF}"/>
                </a:ext>
              </a:extLst>
            </p:cNvPr>
            <p:cNvSpPr/>
            <p:nvPr/>
          </p:nvSpPr>
          <p:spPr>
            <a:xfrm>
              <a:off x="5558795" y="4506164"/>
              <a:ext cx="1175765" cy="261312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9678586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2365B7-64E6-1D5F-2BEE-F30B9FFD6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9E3AA390-0FA6-6351-8655-57C2F94B9CD8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E8B025A-5979-7C41-015F-D05881BE38FD}"/>
              </a:ext>
            </a:extLst>
          </p:cNvPr>
          <p:cNvSpPr txBox="1"/>
          <p:nvPr/>
        </p:nvSpPr>
        <p:spPr>
          <a:xfrm>
            <a:off x="416086" y="388701"/>
            <a:ext cx="62824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ethodology: Sand pack study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10D54D71-C511-DF8B-EEF9-A14AA80D279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2768" y="6141158"/>
            <a:ext cx="1889922" cy="58206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555B407-DA96-E490-27CC-22819F7650E1}"/>
              </a:ext>
            </a:extLst>
          </p:cNvPr>
          <p:cNvSpPr/>
          <p:nvPr/>
        </p:nvSpPr>
        <p:spPr>
          <a:xfrm>
            <a:off x="5971358" y="3324013"/>
            <a:ext cx="5674320" cy="24450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Anerobic environment (for </a:t>
            </a:r>
            <a:r>
              <a:rPr lang="en-US" sz="1400" i="1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Oleidesulfovibrio Alaskennsis </a:t>
            </a: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G20 cells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ultiple drainage ad storage cycles</a:t>
            </a:r>
          </a:p>
          <a:p>
            <a:pPr>
              <a:defRPr/>
            </a:pPr>
            <a:endParaRPr lang="en-US" sz="14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Hydrogen amount calculated according to the ideal gas law,  PV =</a:t>
            </a:r>
            <a:r>
              <a:rPr lang="en-US" sz="1400" dirty="0" err="1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nRT</a:t>
            </a:r>
            <a:endParaRPr lang="en-US" sz="14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Obtained rates normalised to hydrogen volume for comparison across sand packs and cycles, according Boyle’s law.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Initial pressure (1.15 - 1.45 bara) and 37C</a:t>
            </a:r>
          </a:p>
        </p:txBody>
      </p:sp>
      <p:pic>
        <p:nvPicPr>
          <p:cNvPr id="5" name="Picture 4" descr="A diagram of a machine&#10;&#10;AI-generated content may be incorrect.">
            <a:extLst>
              <a:ext uri="{FF2B5EF4-FFF2-40B4-BE49-F238E27FC236}">
                <a16:creationId xmlns:a16="http://schemas.microsoft.com/office/drawing/2014/main" id="{B865DB31-1140-1367-ADF3-A2DAADEC6E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25" y="3324013"/>
            <a:ext cx="5674322" cy="3438628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554B623-0C3C-32EF-84D3-3E85552A05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3890909"/>
              </p:ext>
            </p:extLst>
          </p:nvPr>
        </p:nvGraphicFramePr>
        <p:xfrm>
          <a:off x="88526" y="1486041"/>
          <a:ext cx="5674321" cy="179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903">
                  <a:extLst>
                    <a:ext uri="{9D8B030D-6E8A-4147-A177-3AD203B41FA5}">
                      <a16:colId xmlns:a16="http://schemas.microsoft.com/office/drawing/2014/main" val="4008454553"/>
                    </a:ext>
                  </a:extLst>
                </a:gridCol>
                <a:gridCol w="850554">
                  <a:extLst>
                    <a:ext uri="{9D8B030D-6E8A-4147-A177-3AD203B41FA5}">
                      <a16:colId xmlns:a16="http://schemas.microsoft.com/office/drawing/2014/main" val="2415294694"/>
                    </a:ext>
                  </a:extLst>
                </a:gridCol>
                <a:gridCol w="1004716">
                  <a:extLst>
                    <a:ext uri="{9D8B030D-6E8A-4147-A177-3AD203B41FA5}">
                      <a16:colId xmlns:a16="http://schemas.microsoft.com/office/drawing/2014/main" val="842017775"/>
                    </a:ext>
                  </a:extLst>
                </a:gridCol>
                <a:gridCol w="935609">
                  <a:extLst>
                    <a:ext uri="{9D8B030D-6E8A-4147-A177-3AD203B41FA5}">
                      <a16:colId xmlns:a16="http://schemas.microsoft.com/office/drawing/2014/main" val="2405708899"/>
                    </a:ext>
                  </a:extLst>
                </a:gridCol>
                <a:gridCol w="887766">
                  <a:extLst>
                    <a:ext uri="{9D8B030D-6E8A-4147-A177-3AD203B41FA5}">
                      <a16:colId xmlns:a16="http://schemas.microsoft.com/office/drawing/2014/main" val="5961806"/>
                    </a:ext>
                  </a:extLst>
                </a:gridCol>
                <a:gridCol w="1089773">
                  <a:extLst>
                    <a:ext uri="{9D8B030D-6E8A-4147-A177-3AD203B41FA5}">
                      <a16:colId xmlns:a16="http://schemas.microsoft.com/office/drawing/2014/main" val="2290176540"/>
                    </a:ext>
                  </a:extLst>
                </a:gridCol>
              </a:tblGrid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and Pack ID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Test typ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Grain siz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Porosity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K, (Darcy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A,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[ mm-1 ]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742053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F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25 mm (fin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462047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M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5 mm (medium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6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69825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C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 mm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(coars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2.7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09467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A744554-7F6A-1764-6EFA-EF08E25A30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98288"/>
              </p:ext>
            </p:extLst>
          </p:nvPr>
        </p:nvGraphicFramePr>
        <p:xfrm>
          <a:off x="5971358" y="1486039"/>
          <a:ext cx="5674320" cy="179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903">
                  <a:extLst>
                    <a:ext uri="{9D8B030D-6E8A-4147-A177-3AD203B41FA5}">
                      <a16:colId xmlns:a16="http://schemas.microsoft.com/office/drawing/2014/main" val="4008454553"/>
                    </a:ext>
                  </a:extLst>
                </a:gridCol>
                <a:gridCol w="850553">
                  <a:extLst>
                    <a:ext uri="{9D8B030D-6E8A-4147-A177-3AD203B41FA5}">
                      <a16:colId xmlns:a16="http://schemas.microsoft.com/office/drawing/2014/main" val="2415294694"/>
                    </a:ext>
                  </a:extLst>
                </a:gridCol>
                <a:gridCol w="1004716">
                  <a:extLst>
                    <a:ext uri="{9D8B030D-6E8A-4147-A177-3AD203B41FA5}">
                      <a16:colId xmlns:a16="http://schemas.microsoft.com/office/drawing/2014/main" val="842017775"/>
                    </a:ext>
                  </a:extLst>
                </a:gridCol>
                <a:gridCol w="935609">
                  <a:extLst>
                    <a:ext uri="{9D8B030D-6E8A-4147-A177-3AD203B41FA5}">
                      <a16:colId xmlns:a16="http://schemas.microsoft.com/office/drawing/2014/main" val="2405708899"/>
                    </a:ext>
                  </a:extLst>
                </a:gridCol>
                <a:gridCol w="887765">
                  <a:extLst>
                    <a:ext uri="{9D8B030D-6E8A-4147-A177-3AD203B41FA5}">
                      <a16:colId xmlns:a16="http://schemas.microsoft.com/office/drawing/2014/main" val="5961806"/>
                    </a:ext>
                  </a:extLst>
                </a:gridCol>
                <a:gridCol w="1089774">
                  <a:extLst>
                    <a:ext uri="{9D8B030D-6E8A-4147-A177-3AD203B41FA5}">
                      <a16:colId xmlns:a16="http://schemas.microsoft.com/office/drawing/2014/main" val="2290176540"/>
                    </a:ext>
                  </a:extLst>
                </a:gridCol>
              </a:tblGrid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and Pack ID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Test typ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Grain siz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Porosity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K, (Darcy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A,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[ mm-1 ]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742053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F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25 mm (fin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5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462047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M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5 mm (medium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2.8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6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69825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C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 mm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(coars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.0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094673"/>
                  </a:ext>
                </a:extLst>
              </a:tr>
            </a:tbl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F5D0827-106D-86CF-BEF8-31C23F24F8E5}"/>
              </a:ext>
            </a:extLst>
          </p:cNvPr>
          <p:cNvSpPr/>
          <p:nvPr/>
        </p:nvSpPr>
        <p:spPr>
          <a:xfrm>
            <a:off x="88525" y="2349062"/>
            <a:ext cx="11557153" cy="488731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99E836B-5775-A9B9-E0B7-55152E190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4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582409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14B8A4-2010-B522-B066-16991E277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E3B86D8C-22C7-16D1-9BD2-258BBAF57D16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36F5F3-D0FE-88AC-F100-C428E17C194D}"/>
              </a:ext>
            </a:extLst>
          </p:cNvPr>
          <p:cNvSpPr txBox="1"/>
          <p:nvPr/>
        </p:nvSpPr>
        <p:spPr>
          <a:xfrm>
            <a:off x="1300935" y="400111"/>
            <a:ext cx="4944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Results: Hydrogen loss profile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D060BFD-6C10-7F23-81E1-71CB169976A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4300" y="6180573"/>
            <a:ext cx="1889922" cy="5820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EA07528-EEDE-75EB-8F3E-1F49612603EE}"/>
              </a:ext>
            </a:extLst>
          </p:cNvPr>
          <p:cNvSpPr txBox="1"/>
          <p:nvPr/>
        </p:nvSpPr>
        <p:spPr>
          <a:xfrm>
            <a:off x="6737351" y="2038350"/>
            <a:ext cx="5039492" cy="3550525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285750" indent="-285750">
              <a:buFont typeface="Wingdings" panose="05000000000000000000" pitchFamily="2" charset="2"/>
              <a:buChar char="Ø"/>
              <a:defRPr sz="1400">
                <a:solidFill>
                  <a:srgbClr val="004A47"/>
                </a:solidFill>
                <a:latin typeface="Calibri" panose="020F0502020204030204"/>
                <a:cs typeface="Calibri"/>
              </a:defRPr>
            </a:lvl1pPr>
            <a:lvl2pPr lvl="1">
              <a:defRPr sz="1400">
                <a:solidFill>
                  <a:schemeClr val="accent1"/>
                </a:solidFill>
                <a:latin typeface="Calibri" panose="020F0502020204030204"/>
                <a:cs typeface="Calibri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nb-NO" dirty="0">
                <a:latin typeface="Times" panose="02020603050405020304" pitchFamily="18" charset="0"/>
                <a:cs typeface="Times" panose="02020603050405020304" pitchFamily="18" charset="0"/>
              </a:rPr>
              <a:t>Basing on the general relative  trend, consumption highest in the first storage cycle and decreased with cycle number.</a:t>
            </a:r>
          </a:p>
          <a:p>
            <a:endParaRPr lang="nb-NO" altLang="nb-NO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dirty="0">
                <a:latin typeface="Times" panose="02020603050405020304" pitchFamily="18" charset="0"/>
                <a:cs typeface="Times" panose="02020603050405020304" pitchFamily="18" charset="0"/>
              </a:rPr>
              <a:t>Decline in the sterile case due to mechanical losses</a:t>
            </a:r>
          </a:p>
          <a:p>
            <a:endParaRPr lang="nb-NO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 </a:t>
            </a:r>
            <a:r>
              <a:rPr lang="en-US" dirty="0">
                <a:latin typeface="Times" panose="02020603050405020304" pitchFamily="18" charset="0"/>
                <a:cs typeface="Times" panose="02020603050405020304" pitchFamily="18" charset="0"/>
              </a:rPr>
              <a:t>Predominantly dissolution at the two-phase interfaces and diffusion in the bulk water phas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en-US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Hydrogen losses in the later cycles of the non-sterile packs were comparable to the sterile cycles</a:t>
            </a:r>
          </a:p>
          <a:p>
            <a:endParaRPr lang="en-US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en-US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Reported uncertainity due to small temperature (</a:t>
            </a:r>
            <a:r>
              <a:rPr lang="en-US" dirty="0">
                <a:latin typeface="Times" panose="02020603050405020304" pitchFamily="18" charset="0"/>
                <a:cs typeface="Times" panose="02020603050405020304" pitchFamily="18" charset="0"/>
              </a:rPr>
              <a:t>±1</a:t>
            </a:r>
            <a:r>
              <a:rPr lang="en-US" baseline="30000" dirty="0">
                <a:latin typeface="Times" panose="02020603050405020304" pitchFamily="18" charset="0"/>
                <a:cs typeface="Times" panose="02020603050405020304" pitchFamily="18" charset="0"/>
              </a:rPr>
              <a:t>o</a:t>
            </a:r>
            <a:r>
              <a:rPr lang="en-US" dirty="0">
                <a:latin typeface="Times" panose="02020603050405020304" pitchFamily="18" charset="0"/>
                <a:cs typeface="Times" panose="02020603050405020304" pitchFamily="18" charset="0"/>
              </a:rPr>
              <a:t>C</a:t>
            </a:r>
            <a:r>
              <a:rPr lang="en-US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) and pressure (</a:t>
            </a:r>
            <a:r>
              <a:rPr lang="en-US" dirty="0">
                <a:latin typeface="Times" panose="02020603050405020304" pitchFamily="18" charset="0"/>
                <a:cs typeface="Times" panose="02020603050405020304" pitchFamily="18" charset="0"/>
              </a:rPr>
              <a:t>±5</a:t>
            </a:r>
            <a:r>
              <a:rPr lang="en-US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 mbar)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98244C2-602A-5B45-5FFD-5850AC5399C9}"/>
              </a:ext>
            </a:extLst>
          </p:cNvPr>
          <p:cNvGrpSpPr/>
          <p:nvPr/>
        </p:nvGrpSpPr>
        <p:grpSpPr>
          <a:xfrm>
            <a:off x="255198" y="1806126"/>
            <a:ext cx="6393967" cy="4592228"/>
            <a:chOff x="255198" y="1806126"/>
            <a:chExt cx="6393967" cy="4592228"/>
          </a:xfrm>
        </p:grpSpPr>
        <p:pic>
          <p:nvPicPr>
            <p:cNvPr id="8" name="Picture 7" descr="A graph of storage time&#10;&#10;AI-generated content may be incorrect.">
              <a:extLst>
                <a:ext uri="{FF2B5EF4-FFF2-40B4-BE49-F238E27FC236}">
                  <a16:creationId xmlns:a16="http://schemas.microsoft.com/office/drawing/2014/main" id="{88B1DABC-4410-FC88-0435-3FEC55735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198" y="1806126"/>
              <a:ext cx="6389771" cy="3978724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B8A056C-A228-12A3-8751-8D9E6C7E5CA1}"/>
                </a:ext>
              </a:extLst>
            </p:cNvPr>
            <p:cNvGrpSpPr/>
            <p:nvPr/>
          </p:nvGrpSpPr>
          <p:grpSpPr>
            <a:xfrm>
              <a:off x="255198" y="2476765"/>
              <a:ext cx="6393967" cy="3921589"/>
              <a:chOff x="255198" y="2476765"/>
              <a:chExt cx="6393967" cy="392158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" name="TextBox 1">
                    <a:extLst>
                      <a:ext uri="{FF2B5EF4-FFF2-40B4-BE49-F238E27FC236}">
                        <a16:creationId xmlns:a16="http://schemas.microsoft.com/office/drawing/2014/main" id="{B64655E9-E586-D46F-AEF2-95F7EA2FEB90}"/>
                      </a:ext>
                    </a:extLst>
                  </p:cNvPr>
                  <p:cNvSpPr txBox="1"/>
                  <p:nvPr/>
                </p:nvSpPr>
                <p:spPr>
                  <a:xfrm>
                    <a:off x="255198" y="5816287"/>
                    <a:ext cx="6393967" cy="582067"/>
                  </a:xfrm>
                  <a:prstGeom prst="rect">
                    <a:avLst/>
                  </a:prstGeom>
                  <a:solidFill>
                    <a:srgbClr val="D6EFC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nb-NO"/>
                    </a:defPPr>
                    <a:lvl1pPr marL="285750" indent="-285750">
                      <a:buFont typeface="Wingdings" panose="05000000000000000000" pitchFamily="2" charset="2"/>
                      <a:buChar char="Ø"/>
                      <a:defRPr sz="1400">
                        <a:solidFill>
                          <a:srgbClr val="004A47"/>
                        </a:solidFill>
                        <a:latin typeface="Calibri" panose="020F0502020204030204"/>
                        <a:cs typeface="Calibri"/>
                      </a:defRPr>
                    </a:lvl1pPr>
                    <a:lvl2pPr lvl="1">
                      <a:defRPr sz="1400">
                        <a:solidFill>
                          <a:schemeClr val="accent1"/>
                        </a:solidFill>
                        <a:latin typeface="Calibri" panose="020F0502020204030204"/>
                        <a:cs typeface="Calibri"/>
                      </a:defRPr>
                    </a:lvl2pPr>
                    <a:lvl3pPr>
                      <a:defRPr>
                        <a:solidFill>
                          <a:schemeClr val="lt1"/>
                        </a:solidFill>
                      </a:defRPr>
                    </a:lvl3pPr>
                    <a:lvl4pPr>
                      <a:defRPr>
                        <a:solidFill>
                          <a:schemeClr val="lt1"/>
                        </a:solidFill>
                      </a:defRPr>
                    </a:lvl4pPr>
                    <a:lvl5pPr>
                      <a:defRPr>
                        <a:solidFill>
                          <a:schemeClr val="lt1"/>
                        </a:solidFill>
                      </a:defRPr>
                    </a:lvl5pPr>
                    <a:lvl6pPr>
                      <a:defRPr>
                        <a:solidFill>
                          <a:schemeClr val="lt1"/>
                        </a:solidFill>
                      </a:defRPr>
                    </a:lvl6pPr>
                    <a:lvl7pPr>
                      <a:defRPr>
                        <a:solidFill>
                          <a:schemeClr val="lt1"/>
                        </a:solidFill>
                      </a:defRPr>
                    </a:lvl7pPr>
                    <a:lvl8pPr>
                      <a:defRPr>
                        <a:solidFill>
                          <a:schemeClr val="lt1"/>
                        </a:solidFill>
                      </a:defRPr>
                    </a:lvl8pPr>
                    <a:lvl9pPr>
                      <a:defRPr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marL="0" indent="0">
                      <a:buNone/>
                    </a:pPr>
                    <a:r>
                      <a:rPr lang="nb-NO" sz="1200" dirty="0">
                        <a:latin typeface="Times" panose="02020603050405020304" pitchFamily="18" charset="0"/>
                        <a:cs typeface="Times" panose="02020603050405020304" pitchFamily="18" charset="0"/>
                      </a:rPr>
                      <a:t>Relative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nb-NO" sz="1200" i="1">
                                <a:latin typeface="Cambria Math" panose="02040503050406030204" pitchFamily="18" charset="0"/>
                                <a:cs typeface="Times" panose="020206030504050203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nb-NO" sz="1200">
                                <a:latin typeface="Cambria Math" panose="02040503050406030204" pitchFamily="18" charset="0"/>
                                <a:cs typeface="Times" panose="020206030504050203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nb-NO" sz="1200">
                                <a:latin typeface="Cambria Math" panose="02040503050406030204" pitchFamily="18" charset="0"/>
                                <a:cs typeface="Times" panose="02020603050405020304" pitchFamily="18" charset="0"/>
                              </a:rPr>
                              <m:t>2</m:t>
                            </m:r>
                          </m:sub>
                        </m:sSub>
                      </m:oMath>
                    </a14:m>
                    <a:r>
                      <a:rPr lang="nb-NO" sz="1200" dirty="0">
                        <a:latin typeface="Times" panose="02020603050405020304" pitchFamily="18" charset="0"/>
                        <a:cs typeface="Times" panose="02020603050405020304" pitchFamily="18" charset="0"/>
                      </a:rPr>
                      <a:t> mole change in storage cycles for one of the sand packs. The normalisation was against the starting moles in each storage cycle. </a:t>
                    </a:r>
                  </a:p>
                </p:txBody>
              </p:sp>
            </mc:Choice>
            <mc:Fallback xmlns="">
              <p:sp>
                <p:nvSpPr>
                  <p:cNvPr id="2" name="TextBox 1">
                    <a:extLst>
                      <a:ext uri="{FF2B5EF4-FFF2-40B4-BE49-F238E27FC236}">
                        <a16:creationId xmlns:a16="http://schemas.microsoft.com/office/drawing/2014/main" id="{B64655E9-E586-D46F-AEF2-95F7EA2FEB9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5198" y="5816287"/>
                    <a:ext cx="6393967" cy="582067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95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nb-NO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6" name="Straight Arrow Connector 5">
                <a:extLst>
                  <a:ext uri="{FF2B5EF4-FFF2-40B4-BE49-F238E27FC236}">
                    <a16:creationId xmlns:a16="http://schemas.microsoft.com/office/drawing/2014/main" id="{3A49ABD5-0F2B-4709-8B08-267C3FC9805C}"/>
                  </a:ext>
                </a:extLst>
              </p:cNvPr>
              <p:cNvCxnSpPr/>
              <p:nvPr/>
            </p:nvCxnSpPr>
            <p:spPr>
              <a:xfrm flipH="1">
                <a:off x="5482088" y="2755898"/>
                <a:ext cx="134753" cy="279133"/>
              </a:xfrm>
              <a:prstGeom prst="straightConnector1">
                <a:avLst/>
              </a:prstGeom>
              <a:ln w="127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550C670-C039-1F5F-2501-606FA0FA5223}"/>
                  </a:ext>
                </a:extLst>
              </p:cNvPr>
              <p:cNvSpPr txBox="1"/>
              <p:nvPr/>
            </p:nvSpPr>
            <p:spPr>
              <a:xfrm>
                <a:off x="4862428" y="2476765"/>
                <a:ext cx="1382697" cy="279133"/>
              </a:xfrm>
              <a:prstGeom prst="rect">
                <a:avLst/>
              </a:prstGeom>
              <a:solidFill>
                <a:srgbClr val="D6EFC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>
                <a:defPPr>
                  <a:defRPr lang="nb-NO"/>
                </a:defPPr>
                <a:lvl1pPr marL="285750" indent="-285750">
                  <a:buFont typeface="Wingdings" panose="05000000000000000000" pitchFamily="2" charset="2"/>
                  <a:buChar char="Ø"/>
                  <a:defRPr sz="1400">
                    <a:solidFill>
                      <a:srgbClr val="004A47"/>
                    </a:solidFill>
                    <a:latin typeface="Calibri" panose="020F0502020204030204"/>
                    <a:cs typeface="Calibri"/>
                  </a:defRPr>
                </a:lvl1pPr>
                <a:lvl2pPr lvl="1">
                  <a:defRPr sz="1400">
                    <a:solidFill>
                      <a:schemeClr val="accent1"/>
                    </a:solidFill>
                    <a:latin typeface="Calibri" panose="020F0502020204030204"/>
                    <a:cs typeface="Calibri"/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nb-NO" dirty="0">
                    <a:latin typeface="Times" panose="02020603050405020304" pitchFamily="18" charset="0"/>
                    <a:cs typeface="Times" panose="02020603050405020304" pitchFamily="18" charset="0"/>
                  </a:rPr>
                  <a:t>Strile cycles</a:t>
                </a:r>
                <a:endParaRPr lang="en-US" dirty="0">
                  <a:solidFill>
                    <a:srgbClr val="004A47"/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</p:grpSp>
      </p:grp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DE518B8-F015-57B4-381D-21F2AB2DB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5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60487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D8E4041-1E6B-4E5E-B1ED-C81314B58F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D153113E-47B1-EF87-5EB1-7E8CC095A603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FA2449A-BA0A-608C-FBC2-6907082876D6}"/>
              </a:ext>
            </a:extLst>
          </p:cNvPr>
          <p:cNvSpPr txBox="1"/>
          <p:nvPr/>
        </p:nvSpPr>
        <p:spPr>
          <a:xfrm>
            <a:off x="416086" y="388701"/>
            <a:ext cx="68165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Results: Derived consumption rate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8F5F2E9A-1FA9-326D-8556-72DB15B2E09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1955" y="6170069"/>
            <a:ext cx="1889922" cy="582067"/>
          </a:xfrm>
          <a:prstGeom prst="rect">
            <a:avLst/>
          </a:prstGeom>
        </p:spPr>
      </p:pic>
      <p:pic>
        <p:nvPicPr>
          <p:cNvPr id="2" name="Picture 1" descr="A graph of storage time&#10;&#10;Description automatically generated">
            <a:extLst>
              <a:ext uri="{FF2B5EF4-FFF2-40B4-BE49-F238E27FC236}">
                <a16:creationId xmlns:a16="http://schemas.microsoft.com/office/drawing/2014/main" id="{202EEF0B-03AF-D26D-70CC-B0A56B7CE84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2" y="1653027"/>
            <a:ext cx="2306777" cy="1353443"/>
          </a:xfrm>
          <a:prstGeom prst="rect">
            <a:avLst/>
          </a:prstGeom>
        </p:spPr>
      </p:pic>
      <p:pic>
        <p:nvPicPr>
          <p:cNvPr id="4" name="Picture 3" descr="A graph of storage time&#10;&#10;Description automatically generated">
            <a:extLst>
              <a:ext uri="{FF2B5EF4-FFF2-40B4-BE49-F238E27FC236}">
                <a16:creationId xmlns:a16="http://schemas.microsoft.com/office/drawing/2014/main" id="{C4381F58-5685-8023-5426-A45185AB32B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8" y="3579987"/>
            <a:ext cx="4810121" cy="3092664"/>
          </a:xfrm>
          <a:prstGeom prst="rect">
            <a:avLst/>
          </a:prstGeom>
        </p:spPr>
      </p:pic>
      <p:pic>
        <p:nvPicPr>
          <p:cNvPr id="5" name="Picture 4" descr="A graph of storage time&#10;&#10;Description automatically generated">
            <a:extLst>
              <a:ext uri="{FF2B5EF4-FFF2-40B4-BE49-F238E27FC236}">
                <a16:creationId xmlns:a16="http://schemas.microsoft.com/office/drawing/2014/main" id="{F14BA97F-A084-39F4-5690-D9478A7816B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370" y="1652546"/>
            <a:ext cx="2329839" cy="13534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AB8C25-E4E7-F8A4-2EF4-8DC50D4DCEC0}"/>
              </a:ext>
            </a:extLst>
          </p:cNvPr>
          <p:cNvSpPr txBox="1"/>
          <p:nvPr/>
        </p:nvSpPr>
        <p:spPr>
          <a:xfrm>
            <a:off x="5861050" y="1369162"/>
            <a:ext cx="4339525" cy="2190504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285750" indent="-285750">
              <a:buFont typeface="Wingdings" panose="05000000000000000000" pitchFamily="2" charset="2"/>
              <a:buChar char="Ø"/>
              <a:defRPr sz="1400">
                <a:solidFill>
                  <a:srgbClr val="004A47"/>
                </a:solidFill>
                <a:latin typeface="Calibri" panose="020F0502020204030204"/>
                <a:cs typeface="Calibri"/>
              </a:defRPr>
            </a:lvl1pPr>
            <a:lvl2pPr lvl="1"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  <a:latin typeface="Calibri" panose="020F0502020204030204"/>
                <a:cs typeface="Calibri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nb-NO" sz="1100" dirty="0">
                <a:latin typeface="Times" panose="02020603050405020304" pitchFamily="18" charset="0"/>
                <a:cs typeface="Times" panose="02020603050405020304" pitchFamily="18" charset="0"/>
              </a:rPr>
              <a:t>10 repetitions with one sand size. All rates ranged within the same order of magnitude.</a:t>
            </a:r>
          </a:p>
          <a:p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sz="1100" dirty="0">
                <a:latin typeface="Times" panose="02020603050405020304" pitchFamily="18" charset="0"/>
                <a:cs typeface="Times" panose="02020603050405020304" pitchFamily="18" charset="0"/>
              </a:rPr>
              <a:t>Deducted hydrogen loss associated with sterile cycles to obtain net microbial hydrogen loss rates</a:t>
            </a:r>
          </a:p>
          <a:p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sz="1100" dirty="0">
                <a:latin typeface="Times" panose="02020603050405020304" pitchFamily="18" charset="0"/>
                <a:cs typeface="Times" panose="02020603050405020304" pitchFamily="18" charset="0"/>
              </a:rPr>
              <a:t>Rates declined with storage time in a cycle with a relative loss of 15 </a:t>
            </a:r>
            <a:r>
              <a:rPr lang="en-US" sz="1100" dirty="0">
                <a:latin typeface="Times" panose="02020603050405020304" pitchFamily="18" charset="0"/>
                <a:cs typeface="Times" panose="02020603050405020304" pitchFamily="18" charset="0"/>
              </a:rPr>
              <a:t>± 6% in all cycles at the experimental conditions</a:t>
            </a:r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sz="1100" dirty="0">
                <a:latin typeface="Times" panose="02020603050405020304" pitchFamily="18" charset="0"/>
                <a:cs typeface="Times" panose="02020603050405020304" pitchFamily="18" charset="0"/>
              </a:rPr>
              <a:t>Sulphate and acetate were not limiting.</a:t>
            </a:r>
          </a:p>
          <a:p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sz="1100" dirty="0">
                <a:latin typeface="Times" panose="02020603050405020304" pitchFamily="18" charset="0"/>
                <a:cs typeface="Times" panose="02020603050405020304" pitchFamily="18" charset="0"/>
              </a:rPr>
              <a:t>Signifcant increase in brine pH to 8.3 </a:t>
            </a:r>
            <a:r>
              <a:rPr lang="en-US" sz="1100" dirty="0">
                <a:latin typeface="Times" panose="02020603050405020304" pitchFamily="18" charset="0"/>
                <a:cs typeface="Times" panose="02020603050405020304" pitchFamily="18" charset="0"/>
              </a:rPr>
              <a:t>± 0.2</a:t>
            </a:r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endParaRPr lang="nb-NO" sz="1100" dirty="0"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FDD8741-CA40-E209-FD15-F34C86685048}"/>
              </a:ext>
            </a:extLst>
          </p:cNvPr>
          <p:cNvGrpSpPr/>
          <p:nvPr/>
        </p:nvGrpSpPr>
        <p:grpSpPr>
          <a:xfrm>
            <a:off x="5080496" y="2192393"/>
            <a:ext cx="635377" cy="228600"/>
            <a:chOff x="5062771" y="828675"/>
            <a:chExt cx="635377" cy="228600"/>
          </a:xfrm>
        </p:grpSpPr>
        <p:sp>
          <p:nvSpPr>
            <p:cNvPr id="8" name="Plus Sign 7">
              <a:extLst>
                <a:ext uri="{FF2B5EF4-FFF2-40B4-BE49-F238E27FC236}">
                  <a16:creationId xmlns:a16="http://schemas.microsoft.com/office/drawing/2014/main" id="{B3443619-5250-0D05-3FB8-584B00884B01}"/>
                </a:ext>
              </a:extLst>
            </p:cNvPr>
            <p:cNvSpPr/>
            <p:nvPr/>
          </p:nvSpPr>
          <p:spPr>
            <a:xfrm>
              <a:off x="5062771" y="828675"/>
              <a:ext cx="171450" cy="228600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78BF0D0-6ECE-5B13-B602-0740EF9E48FB}"/>
                </a:ext>
              </a:extLst>
            </p:cNvPr>
            <p:cNvSpPr/>
            <p:nvPr/>
          </p:nvSpPr>
          <p:spPr>
            <a:xfrm>
              <a:off x="5335001" y="936579"/>
              <a:ext cx="45719" cy="457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113F1F8-293C-598F-A57F-BEF3CBB5338D}"/>
                </a:ext>
              </a:extLst>
            </p:cNvPr>
            <p:cNvSpPr/>
            <p:nvPr/>
          </p:nvSpPr>
          <p:spPr>
            <a:xfrm>
              <a:off x="5496665" y="936579"/>
              <a:ext cx="45719" cy="457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3DB8309-82F8-9C7A-8D6F-F4113ED3135F}"/>
                </a:ext>
              </a:extLst>
            </p:cNvPr>
            <p:cNvSpPr/>
            <p:nvPr/>
          </p:nvSpPr>
          <p:spPr>
            <a:xfrm>
              <a:off x="5652429" y="936580"/>
              <a:ext cx="45719" cy="457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endParaRPr>
            </a:p>
          </p:txBody>
        </p:sp>
      </p:grp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7691900F-6F2B-A1E6-0E4D-1500259E6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560" y="65695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6</a:t>
            </a:fld>
            <a:endParaRPr lang="en-US" sz="1800" b="1" dirty="0"/>
          </a:p>
        </p:txBody>
      </p:sp>
      <p:pic>
        <p:nvPicPr>
          <p:cNvPr id="13" name="Picture 12" descr="A graph of a number of numbers&#10;&#10;AI-generated content may be incorrect.">
            <a:extLst>
              <a:ext uri="{FF2B5EF4-FFF2-40B4-BE49-F238E27FC236}">
                <a16:creationId xmlns:a16="http://schemas.microsoft.com/office/drawing/2014/main" id="{B1AB9BF8-68B5-55E9-E5BD-E5791BD618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330" y="3579986"/>
            <a:ext cx="5293245" cy="309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619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9039A0-3D1F-A48C-33AA-3C968EC55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81B0E0E7-2D27-AFA7-ECB0-4700805ED168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624E711-AD3F-2A50-B549-F607E105A2F3}"/>
              </a:ext>
            </a:extLst>
          </p:cNvPr>
          <p:cNvSpPr txBox="1"/>
          <p:nvPr/>
        </p:nvSpPr>
        <p:spPr>
          <a:xfrm>
            <a:off x="416086" y="388701"/>
            <a:ext cx="68165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Results: Comparison with batch test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8CD458B9-8D83-7F3D-F01B-C505A8BC954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3806" y="6194402"/>
            <a:ext cx="1889922" cy="58206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01BF1ED-F8D3-B935-47EC-3335501538C5}"/>
              </a:ext>
            </a:extLst>
          </p:cNvPr>
          <p:cNvSpPr txBox="1"/>
          <p:nvPr/>
        </p:nvSpPr>
        <p:spPr>
          <a:xfrm>
            <a:off x="7859110" y="1527307"/>
            <a:ext cx="4209393" cy="2902797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285750" indent="-285750">
              <a:buFont typeface="Wingdings" panose="05000000000000000000" pitchFamily="2" charset="2"/>
              <a:buChar char="Ø"/>
              <a:defRPr sz="1400">
                <a:solidFill>
                  <a:srgbClr val="004A47"/>
                </a:solidFill>
                <a:latin typeface="Calibri" panose="020F0502020204030204"/>
                <a:cs typeface="Calibri"/>
              </a:defRPr>
            </a:lvl1pPr>
            <a:lvl2pPr lvl="1">
              <a:defRPr sz="1400">
                <a:solidFill>
                  <a:schemeClr val="accent1"/>
                </a:solidFill>
                <a:latin typeface="Calibri" panose="020F0502020204030204"/>
                <a:cs typeface="Calibri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nb-NO" dirty="0">
                <a:latin typeface="Times" panose="02020603050405020304" pitchFamily="18" charset="0"/>
                <a:cs typeface="Times" panose="02020603050405020304" pitchFamily="18" charset="0"/>
              </a:rPr>
              <a:t>Consumption rates in sand packs (porous media) were 1-2 orders of magnitude higher than in batch bottle tests . </a:t>
            </a:r>
            <a:r>
              <a:rPr lang="nb-NO" dirty="0">
                <a:solidFill>
                  <a:srgbClr val="0070C0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Though </a:t>
            </a:r>
            <a:r>
              <a:rPr lang="nb-NO" dirty="0" err="1">
                <a:solidFill>
                  <a:srgbClr val="0070C0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shorter</a:t>
            </a:r>
            <a:r>
              <a:rPr lang="nb-NO" dirty="0">
                <a:solidFill>
                  <a:srgbClr val="0070C0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 consumption </a:t>
            </a:r>
            <a:r>
              <a:rPr lang="nb-NO" dirty="0" err="1">
                <a:solidFill>
                  <a:srgbClr val="0070C0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intervals</a:t>
            </a:r>
            <a:endParaRPr lang="nb-NO" dirty="0">
              <a:solidFill>
                <a:srgbClr val="0070C0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endParaRPr lang="nb-NO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dirty="0">
                <a:latin typeface="Times" panose="02020603050405020304" pitchFamily="18" charset="0"/>
                <a:cs typeface="Times" panose="02020603050405020304" pitchFamily="18" charset="0"/>
              </a:rPr>
              <a:t>Variation attributed to hydrogen dissolution rates – higher in porous media</a:t>
            </a:r>
          </a:p>
          <a:p>
            <a:endParaRPr lang="nb-NO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r>
              <a:rPr lang="nb-NO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This prompted the second phase of the study that explored the impact of specific surface area on consumption rates. </a:t>
            </a:r>
          </a:p>
          <a:p>
            <a:endParaRPr lang="en-US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D148442-3AF0-8A41-BE11-730930FB0127}"/>
              </a:ext>
            </a:extLst>
          </p:cNvPr>
          <p:cNvGrpSpPr/>
          <p:nvPr/>
        </p:nvGrpSpPr>
        <p:grpSpPr>
          <a:xfrm>
            <a:off x="227778" y="1527308"/>
            <a:ext cx="7492440" cy="4871046"/>
            <a:chOff x="227778" y="1527308"/>
            <a:chExt cx="7492440" cy="4871046"/>
          </a:xfrm>
        </p:grpSpPr>
        <p:pic>
          <p:nvPicPr>
            <p:cNvPr id="3" name="Picture 2" descr="A graph of a number of objects&#10;&#10;AI-generated content may be incorrect.">
              <a:extLst>
                <a:ext uri="{FF2B5EF4-FFF2-40B4-BE49-F238E27FC236}">
                  <a16:creationId xmlns:a16="http://schemas.microsoft.com/office/drawing/2014/main" id="{D587CB04-9E4C-6814-DAE7-DFA1244E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778" y="1527308"/>
              <a:ext cx="7492440" cy="4259122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E0CA075-8ABD-D1CD-78F8-B22B0B1760AE}"/>
                </a:ext>
              </a:extLst>
            </p:cNvPr>
            <p:cNvSpPr txBox="1"/>
            <p:nvPr/>
          </p:nvSpPr>
          <p:spPr>
            <a:xfrm>
              <a:off x="255198" y="5816287"/>
              <a:ext cx="4498105" cy="582067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nb-NO"/>
              </a:defPPr>
              <a:lvl1pPr marL="285750" indent="-285750">
                <a:buFont typeface="Wingdings" panose="05000000000000000000" pitchFamily="2" charset="2"/>
                <a:buChar char="Ø"/>
                <a:defRPr sz="1400">
                  <a:solidFill>
                    <a:srgbClr val="004A47"/>
                  </a:solidFill>
                  <a:latin typeface="Calibri" panose="020F0502020204030204"/>
                  <a:cs typeface="Calibri"/>
                </a:defRPr>
              </a:lvl1pPr>
              <a:lvl2pPr lvl="1">
                <a:defRPr sz="1400">
                  <a:solidFill>
                    <a:schemeClr val="accent1"/>
                  </a:solidFill>
                  <a:latin typeface="Calibri" panose="020F0502020204030204"/>
                  <a:cs typeface="Calibri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indent="0">
                <a:buNone/>
              </a:pPr>
              <a:r>
                <a:rPr lang="nb-NO" sz="1200" dirty="0">
                  <a:latin typeface="Times" panose="02020603050405020304" pitchFamily="18" charset="0"/>
                  <a:cs typeface="Times" panose="02020603050405020304" pitchFamily="18" charset="0"/>
                </a:rPr>
                <a:t>Comparison of our experimental results with reported literature data.  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1F7073D-4AA3-F723-53BA-22C9C1586B94}"/>
                </a:ext>
              </a:extLst>
            </p:cNvPr>
            <p:cNvSpPr/>
            <p:nvPr/>
          </p:nvSpPr>
          <p:spPr>
            <a:xfrm>
              <a:off x="5428223" y="2161550"/>
              <a:ext cx="307427" cy="449317"/>
            </a:xfrm>
            <a:prstGeom prst="ellipse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C517E29-1F20-DE36-821B-B120FE087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7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595060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518815-73CE-ED7E-BD3D-00C9E9A2D7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6257A3F7-DE21-1BAE-D4A7-DA6593482DCB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66590AD-6B01-0F39-30AC-C8FCA5B1996D}"/>
              </a:ext>
            </a:extLst>
          </p:cNvPr>
          <p:cNvSpPr txBox="1"/>
          <p:nvPr/>
        </p:nvSpPr>
        <p:spPr>
          <a:xfrm>
            <a:off x="1501936" y="314980"/>
            <a:ext cx="62824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/>
                <a:cs typeface="Times" panose="02020603050405020304"/>
              </a:rPr>
              <a:t>Surface area impac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/>
              <a:cs typeface="Times" panose="020206030504050203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E4043C-E82A-2BDE-D2C0-FA30C2435877}"/>
              </a:ext>
            </a:extLst>
          </p:cNvPr>
          <p:cNvSpPr/>
          <p:nvPr/>
        </p:nvSpPr>
        <p:spPr>
          <a:xfrm>
            <a:off x="5971357" y="3334452"/>
            <a:ext cx="5674320" cy="2685348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Three specific surface area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One drainage cycle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Two to three storage cycles (based on the pressure drop magnitude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04A47"/>
              </a:solidFill>
              <a:latin typeface="Times" panose="02020603050405020304"/>
              <a:cs typeface="Times" panose="02020603050405020304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004A47"/>
                </a:solidFill>
                <a:latin typeface="Times" panose="02020603050405020304"/>
                <a:cs typeface="Times" panose="02020603050405020304"/>
              </a:rPr>
              <a:t>PV = 13 mL, P = 1.45 bara</a:t>
            </a:r>
          </a:p>
        </p:txBody>
      </p:sp>
      <p:pic>
        <p:nvPicPr>
          <p:cNvPr id="5" name="Picture 4" descr="A diagram of a machine&#10;&#10;AI-generated content may be incorrect.">
            <a:extLst>
              <a:ext uri="{FF2B5EF4-FFF2-40B4-BE49-F238E27FC236}">
                <a16:creationId xmlns:a16="http://schemas.microsoft.com/office/drawing/2014/main" id="{7B0445F0-B6AB-8C07-AA59-ED0E77BF52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25" y="3324013"/>
            <a:ext cx="5674321" cy="3438628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5F451E6-C4BA-3B5C-2CD5-FA1F80994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132849"/>
              </p:ext>
            </p:extLst>
          </p:nvPr>
        </p:nvGraphicFramePr>
        <p:xfrm>
          <a:off x="88526" y="1486041"/>
          <a:ext cx="5674321" cy="179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903">
                  <a:extLst>
                    <a:ext uri="{9D8B030D-6E8A-4147-A177-3AD203B41FA5}">
                      <a16:colId xmlns:a16="http://schemas.microsoft.com/office/drawing/2014/main" val="4008454553"/>
                    </a:ext>
                  </a:extLst>
                </a:gridCol>
                <a:gridCol w="850554">
                  <a:extLst>
                    <a:ext uri="{9D8B030D-6E8A-4147-A177-3AD203B41FA5}">
                      <a16:colId xmlns:a16="http://schemas.microsoft.com/office/drawing/2014/main" val="2415294694"/>
                    </a:ext>
                  </a:extLst>
                </a:gridCol>
                <a:gridCol w="1004716">
                  <a:extLst>
                    <a:ext uri="{9D8B030D-6E8A-4147-A177-3AD203B41FA5}">
                      <a16:colId xmlns:a16="http://schemas.microsoft.com/office/drawing/2014/main" val="842017775"/>
                    </a:ext>
                  </a:extLst>
                </a:gridCol>
                <a:gridCol w="935609">
                  <a:extLst>
                    <a:ext uri="{9D8B030D-6E8A-4147-A177-3AD203B41FA5}">
                      <a16:colId xmlns:a16="http://schemas.microsoft.com/office/drawing/2014/main" val="2405708899"/>
                    </a:ext>
                  </a:extLst>
                </a:gridCol>
                <a:gridCol w="887766">
                  <a:extLst>
                    <a:ext uri="{9D8B030D-6E8A-4147-A177-3AD203B41FA5}">
                      <a16:colId xmlns:a16="http://schemas.microsoft.com/office/drawing/2014/main" val="5961806"/>
                    </a:ext>
                  </a:extLst>
                </a:gridCol>
                <a:gridCol w="1089773">
                  <a:extLst>
                    <a:ext uri="{9D8B030D-6E8A-4147-A177-3AD203B41FA5}">
                      <a16:colId xmlns:a16="http://schemas.microsoft.com/office/drawing/2014/main" val="2290176540"/>
                    </a:ext>
                  </a:extLst>
                </a:gridCol>
              </a:tblGrid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and Pack ID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Test typ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Grain siz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Porosity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K, (Darcy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A,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[ mm-1 ]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742053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F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25 mm (fin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462047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M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5 mm (medium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6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69825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C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teril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 mm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(coars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2.7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09467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604B161-E163-46B7-9FA7-408F2201BF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086461"/>
              </p:ext>
            </p:extLst>
          </p:nvPr>
        </p:nvGraphicFramePr>
        <p:xfrm>
          <a:off x="5971358" y="1486039"/>
          <a:ext cx="5674320" cy="179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903">
                  <a:extLst>
                    <a:ext uri="{9D8B030D-6E8A-4147-A177-3AD203B41FA5}">
                      <a16:colId xmlns:a16="http://schemas.microsoft.com/office/drawing/2014/main" val="4008454553"/>
                    </a:ext>
                  </a:extLst>
                </a:gridCol>
                <a:gridCol w="850553">
                  <a:extLst>
                    <a:ext uri="{9D8B030D-6E8A-4147-A177-3AD203B41FA5}">
                      <a16:colId xmlns:a16="http://schemas.microsoft.com/office/drawing/2014/main" val="2415294694"/>
                    </a:ext>
                  </a:extLst>
                </a:gridCol>
                <a:gridCol w="1004716">
                  <a:extLst>
                    <a:ext uri="{9D8B030D-6E8A-4147-A177-3AD203B41FA5}">
                      <a16:colId xmlns:a16="http://schemas.microsoft.com/office/drawing/2014/main" val="842017775"/>
                    </a:ext>
                  </a:extLst>
                </a:gridCol>
                <a:gridCol w="935609">
                  <a:extLst>
                    <a:ext uri="{9D8B030D-6E8A-4147-A177-3AD203B41FA5}">
                      <a16:colId xmlns:a16="http://schemas.microsoft.com/office/drawing/2014/main" val="2405708899"/>
                    </a:ext>
                  </a:extLst>
                </a:gridCol>
                <a:gridCol w="887765">
                  <a:extLst>
                    <a:ext uri="{9D8B030D-6E8A-4147-A177-3AD203B41FA5}">
                      <a16:colId xmlns:a16="http://schemas.microsoft.com/office/drawing/2014/main" val="5961806"/>
                    </a:ext>
                  </a:extLst>
                </a:gridCol>
                <a:gridCol w="1089774">
                  <a:extLst>
                    <a:ext uri="{9D8B030D-6E8A-4147-A177-3AD203B41FA5}">
                      <a16:colId xmlns:a16="http://schemas.microsoft.com/office/drawing/2014/main" val="2290176540"/>
                    </a:ext>
                  </a:extLst>
                </a:gridCol>
              </a:tblGrid>
              <a:tr h="4488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and Pack ID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Test typ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Grain size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Porosity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K, (Darcy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SSA,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[ mm-1 ]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742053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F x3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25 mm (fin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.5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462047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M x3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5 mm (medium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2.8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6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69825"/>
                  </a:ext>
                </a:extLst>
              </a:tr>
              <a:tr h="44883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SC x3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0000"/>
                          </a:solidFill>
                          <a:latin typeface="Times" panose="02020603050405020304"/>
                          <a:cs typeface="Times" panose="02020603050405020304"/>
                        </a:rPr>
                        <a:t>Bacterial</a:t>
                      </a:r>
                      <a:endParaRPr lang="nb-NO" sz="1100" b="1" dirty="0">
                        <a:solidFill>
                          <a:srgbClr val="FF0000"/>
                        </a:solidFill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 mm </a:t>
                      </a:r>
                    </a:p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(coarse)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0.3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3.0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imes" panose="02020603050405020304"/>
                          <a:cs typeface="Times" panose="02020603050405020304"/>
                        </a:rPr>
                        <a:t>12</a:t>
                      </a:r>
                      <a:endParaRPr lang="nb-NO" sz="1100" dirty="0">
                        <a:latin typeface="Times" panose="02020603050405020304"/>
                        <a:cs typeface="Times" panose="0202060305040502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094673"/>
                  </a:ext>
                </a:extLst>
              </a:tr>
            </a:tbl>
          </a:graphicData>
        </a:graphic>
      </p:graphicFrame>
      <p:pic>
        <p:nvPicPr>
          <p:cNvPr id="43" name="Picture 42">
            <a:extLst>
              <a:ext uri="{FF2B5EF4-FFF2-40B4-BE49-F238E27FC236}">
                <a16:creationId xmlns:a16="http://schemas.microsoft.com/office/drawing/2014/main" id="{8483E451-0F8F-7DC7-E385-C33EA2C7FD3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7450" y="6194402"/>
            <a:ext cx="1889922" cy="582067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1D1CFB0-224E-9723-5A39-DA2CEF3F3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>
                <a:latin typeface="Times" panose="02020603050405020304"/>
                <a:cs typeface="Times" panose="02020603050405020304"/>
              </a:rPr>
              <a:t>8</a:t>
            </a:fld>
            <a:endParaRPr lang="en-US" sz="1800" b="1" dirty="0">
              <a:latin typeface="Times" panose="02020603050405020304"/>
              <a:cs typeface="Times" panose="02020603050405020304"/>
            </a:endParaRPr>
          </a:p>
        </p:txBody>
      </p:sp>
    </p:spTree>
    <p:extLst>
      <p:ext uri="{BB962C8B-B14F-4D97-AF65-F5344CB8AC3E}">
        <p14:creationId xmlns:p14="http://schemas.microsoft.com/office/powerpoint/2010/main" val="3386941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49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B0BC79F-0917-FC75-D2A3-5F8BE9D859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937A9A5-46ED-3886-60FE-361722ADB297}"/>
              </a:ext>
            </a:extLst>
          </p:cNvPr>
          <p:cNvSpPr/>
          <p:nvPr/>
        </p:nvSpPr>
        <p:spPr>
          <a:xfrm>
            <a:off x="-1" y="1"/>
            <a:ext cx="12192001" cy="1323440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F90F624-605B-3C27-298D-3E625A835312}"/>
              </a:ext>
            </a:extLst>
          </p:cNvPr>
          <p:cNvSpPr txBox="1"/>
          <p:nvPr/>
        </p:nvSpPr>
        <p:spPr>
          <a:xfrm>
            <a:off x="416086" y="388701"/>
            <a:ext cx="91406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5000"/>
              <a:buFont typeface="Symbol" panose="05050102010706020507" pitchFamily="18" charset="2"/>
              <a:buNone/>
              <a:tabLst/>
              <a:defRPr/>
            </a:pPr>
            <a:r>
              <a:rPr lang="en-US" altLang="en-US" sz="2800" dirty="0">
                <a:solidFill>
                  <a:srgbClr val="0349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Results: Consumption rates in bacterial test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34947"/>
              </a:solidFill>
              <a:effectLst/>
              <a:uLnTx/>
              <a:uFillTx/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44FF84A-6A84-9226-F07E-0104988C189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2996" y="6194402"/>
            <a:ext cx="1889922" cy="58206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E30CAF5-CD9B-7B30-59A3-882362FFDB50}"/>
              </a:ext>
            </a:extLst>
          </p:cNvPr>
          <p:cNvSpPr/>
          <p:nvPr/>
        </p:nvSpPr>
        <p:spPr>
          <a:xfrm>
            <a:off x="9069096" y="1390777"/>
            <a:ext cx="3066099" cy="4686829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Key findings</a:t>
            </a:r>
          </a:p>
          <a:p>
            <a:pPr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icrobial hydrogen consumption rates varied both with SSA and storage cycle number over a 96-hour storage period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The rates were generally most dominant in the first storage cycles.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icrobial hydrogen consumption rates were highest in fine-grained sand pack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lvl="1">
              <a:defRPr/>
            </a:pPr>
            <a:r>
              <a:rPr lang="en-US" sz="1200" dirty="0">
                <a:solidFill>
                  <a:schemeClr val="accent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Consistent with the dissolution rates (in sterile cycles)</a:t>
            </a:r>
          </a:p>
          <a:p>
            <a:pPr lvl="1">
              <a:defRPr/>
            </a:pPr>
            <a:r>
              <a:rPr lang="en-US" sz="1200" dirty="0">
                <a:solidFill>
                  <a:schemeClr val="accent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But Shorter consumption interval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Lowest consumption rates in coarse grained sand packs. However, consumption sustained longest activity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lvl="1">
              <a:defRPr/>
            </a:pPr>
            <a:r>
              <a:rPr lang="en-US" sz="1200" dirty="0">
                <a:solidFill>
                  <a:schemeClr val="accent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Similar to batch bottle test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rgbClr val="004A47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edium grained sand packs had the highest end pH of 8.5 - 8.6. Limiting zone for this strain. 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1200" dirty="0">
              <a:solidFill>
                <a:srgbClr val="004A47"/>
              </a:solidFill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pic>
        <p:nvPicPr>
          <p:cNvPr id="3" name="Picture 2" descr="A graph of storage time&#10;&#10;AI-generated content may be incorrect.">
            <a:extLst>
              <a:ext uri="{FF2B5EF4-FFF2-40B4-BE49-F238E27FC236}">
                <a16:creationId xmlns:a16="http://schemas.microsoft.com/office/drawing/2014/main" id="{501513BF-FD58-A95C-5DD3-DF55851690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6581" y="1390778"/>
            <a:ext cx="2942232" cy="1699010"/>
          </a:xfrm>
          <a:prstGeom prst="rect">
            <a:avLst/>
          </a:prstGeom>
        </p:spPr>
      </p:pic>
      <p:pic>
        <p:nvPicPr>
          <p:cNvPr id="5" name="Picture 4" descr="A graph of storage time&#10;&#10;AI-generated content may be incorrect.">
            <a:extLst>
              <a:ext uri="{FF2B5EF4-FFF2-40B4-BE49-F238E27FC236}">
                <a16:creationId xmlns:a16="http://schemas.microsoft.com/office/drawing/2014/main" id="{2E0EB3B7-62AF-F93A-3BEA-ED412325B0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3" y="1390778"/>
            <a:ext cx="2993667" cy="1699010"/>
          </a:xfrm>
          <a:prstGeom prst="rect">
            <a:avLst/>
          </a:prstGeom>
        </p:spPr>
      </p:pic>
      <p:pic>
        <p:nvPicPr>
          <p:cNvPr id="7" name="Picture 6" descr="A graph of storage time&#10;&#10;AI-generated content may be incorrect.">
            <a:extLst>
              <a:ext uri="{FF2B5EF4-FFF2-40B4-BE49-F238E27FC236}">
                <a16:creationId xmlns:a16="http://schemas.microsoft.com/office/drawing/2014/main" id="{E6F4914E-4B90-D3FD-4556-D4339CEC30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017" y="1390778"/>
            <a:ext cx="2854406" cy="169901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73394D-FFF7-8A7A-BFC7-7852A536D482}"/>
              </a:ext>
            </a:extLst>
          </p:cNvPr>
          <p:cNvSpPr/>
          <p:nvPr/>
        </p:nvSpPr>
        <p:spPr>
          <a:xfrm>
            <a:off x="7126285" y="1512850"/>
            <a:ext cx="1189039" cy="272434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tx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Coarse-grain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0A90AE-9E37-94EB-CA77-41D354421E17}"/>
              </a:ext>
            </a:extLst>
          </p:cNvPr>
          <p:cNvSpPr/>
          <p:nvPr/>
        </p:nvSpPr>
        <p:spPr>
          <a:xfrm>
            <a:off x="4034629" y="1512850"/>
            <a:ext cx="1189039" cy="272434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tx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Medium-grained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4BCFE2C-BE46-03EC-A91C-5B7B6161EB08}"/>
              </a:ext>
            </a:extLst>
          </p:cNvPr>
          <p:cNvSpPr/>
          <p:nvPr/>
        </p:nvSpPr>
        <p:spPr>
          <a:xfrm>
            <a:off x="1091762" y="1512850"/>
            <a:ext cx="1189039" cy="272434"/>
          </a:xfrm>
          <a:prstGeom prst="rect">
            <a:avLst/>
          </a:prstGeom>
          <a:solidFill>
            <a:srgbClr val="D6EFC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tx1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Fine-grained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A027DD8-76BE-BA6A-C61D-38371F2B316E}"/>
              </a:ext>
            </a:extLst>
          </p:cNvPr>
          <p:cNvGrpSpPr/>
          <p:nvPr/>
        </p:nvGrpSpPr>
        <p:grpSpPr>
          <a:xfrm>
            <a:off x="54333" y="3286126"/>
            <a:ext cx="4501780" cy="2561212"/>
            <a:chOff x="54333" y="3286126"/>
            <a:chExt cx="4501780" cy="2561212"/>
          </a:xfrm>
        </p:grpSpPr>
        <p:pic>
          <p:nvPicPr>
            <p:cNvPr id="10" name="Picture 9" descr="A graph of storage time&#10;&#10;AI-generated content may be incorrect.">
              <a:extLst>
                <a:ext uri="{FF2B5EF4-FFF2-40B4-BE49-F238E27FC236}">
                  <a16:creationId xmlns:a16="http://schemas.microsoft.com/office/drawing/2014/main" id="{2BF83FBE-C177-2A0E-4BBC-970254B55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33" y="3286126"/>
              <a:ext cx="4501780" cy="2561212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B7C4E5-212C-2B4B-CE99-42DD09D48542}"/>
                </a:ext>
              </a:extLst>
            </p:cNvPr>
            <p:cNvSpPr/>
            <p:nvPr/>
          </p:nvSpPr>
          <p:spPr>
            <a:xfrm>
              <a:off x="1091762" y="3588730"/>
              <a:ext cx="1479815" cy="318478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rPr>
                <a:t>Average storage Cycle 1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4EB374C-380F-08A7-A27B-81C19675A327}"/>
              </a:ext>
            </a:extLst>
          </p:cNvPr>
          <p:cNvGrpSpPr/>
          <p:nvPr/>
        </p:nvGrpSpPr>
        <p:grpSpPr>
          <a:xfrm>
            <a:off x="4680431" y="3286126"/>
            <a:ext cx="4302940" cy="2561212"/>
            <a:chOff x="4680431" y="3286126"/>
            <a:chExt cx="4302940" cy="2561212"/>
          </a:xfrm>
        </p:grpSpPr>
        <p:pic>
          <p:nvPicPr>
            <p:cNvPr id="4" name="Picture 3" descr="A graph of storage time&#10;&#10;AI-generated content may be incorrect.">
              <a:extLst>
                <a:ext uri="{FF2B5EF4-FFF2-40B4-BE49-F238E27FC236}">
                  <a16:creationId xmlns:a16="http://schemas.microsoft.com/office/drawing/2014/main" id="{05024A7E-2333-908C-5E93-65F801BDA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0431" y="3286126"/>
              <a:ext cx="4302940" cy="2561212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C09592F-B198-ABC9-9918-B191D6447D1E}"/>
                </a:ext>
              </a:extLst>
            </p:cNvPr>
            <p:cNvSpPr/>
            <p:nvPr/>
          </p:nvSpPr>
          <p:spPr>
            <a:xfrm>
              <a:off x="6559112" y="3588730"/>
              <a:ext cx="1479815" cy="318478"/>
            </a:xfrm>
            <a:prstGeom prst="rect">
              <a:avLst/>
            </a:prstGeom>
            <a:solidFill>
              <a:srgbClr val="D6EF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tx1"/>
                  </a:solidFill>
                  <a:latin typeface="Times" panose="02020603050405020304" pitchFamily="18" charset="0"/>
                  <a:cs typeface="Times" panose="02020603050405020304" pitchFamily="18" charset="0"/>
                </a:rPr>
                <a:t>Average storage Cycle 2</a:t>
              </a:r>
            </a:p>
          </p:txBody>
        </p:sp>
      </p:grp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207961C6-DB2D-3C03-B58D-15405101F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2935" y="6302874"/>
            <a:ext cx="526831" cy="365125"/>
          </a:xfrm>
        </p:spPr>
        <p:txBody>
          <a:bodyPr/>
          <a:lstStyle/>
          <a:p>
            <a:fld id="{B202AF3B-4715-634D-811A-1D014B9EEB5A}" type="slidenum">
              <a:rPr lang="en-US" sz="1800" b="1" smtClean="0"/>
              <a:t>9</a:t>
            </a:fld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47639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intershall Dea">
  <a:themeElements>
    <a:clrScheme name="Wintershall Dea">
      <a:dk1>
        <a:srgbClr val="2C2C2C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148"/>
      </a:accent6>
      <a:hlink>
        <a:srgbClr val="2C2C2C"/>
      </a:hlink>
      <a:folHlink>
        <a:srgbClr val="2C2C2C"/>
      </a:folHlink>
    </a:clrScheme>
    <a:fontScheme name="Benutzerdefiniert 136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2563" indent="-182563" algn="l">
          <a:lnSpc>
            <a:spcPct val="110000"/>
          </a:lnSpc>
          <a:buClr>
            <a:schemeClr val="accent2"/>
          </a:buClr>
          <a:buSzPct val="120000"/>
          <a:buFont typeface="WintershallDea Office" panose="020B0503040000020003" pitchFamily="34" charset="0"/>
          <a:buChar char="›"/>
          <a:defRPr sz="12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2563" indent="-182563" algn="l">
          <a:lnSpc>
            <a:spcPct val="110000"/>
          </a:lnSpc>
          <a:buClr>
            <a:schemeClr val="accent2"/>
          </a:buClr>
          <a:buSzPct val="120000"/>
          <a:buFont typeface="WintershallDea Office" panose="020B0503040000020003" pitchFamily="34" charset="0"/>
          <a:buChar char="›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1" id="{BFAE6DD7-FFB7-2544-A3F5-C0CD69062628}" vid="{11E86A2F-9CC4-144C-B0DB-6C782745875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2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3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4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5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6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7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8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9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8d5041-de8e-45d5-ba02-f97c4eed3c03">
      <Terms xmlns="http://schemas.microsoft.com/office/infopath/2007/PartnerControls"/>
    </lcf76f155ced4ddcb4097134ff3c332f>
    <TaxCatchAll xmlns="0d68b1e1-45ba-4240-8eca-da99a135610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9E609232474B4F8438144A83FAA60E" ma:contentTypeVersion="19" ma:contentTypeDescription="Create a new document." ma:contentTypeScope="" ma:versionID="98328111b28a4d14449b829e40f256fb">
  <xsd:schema xmlns:xsd="http://www.w3.org/2001/XMLSchema" xmlns:xs="http://www.w3.org/2001/XMLSchema" xmlns:p="http://schemas.microsoft.com/office/2006/metadata/properties" xmlns:ns2="448d5041-de8e-45d5-ba02-f97c4eed3c03" xmlns:ns3="476d3b3f-b310-4a7a-8fab-a72dedfe234a" xmlns:ns4="0d68b1e1-45ba-4240-8eca-da99a1356104" targetNamespace="http://schemas.microsoft.com/office/2006/metadata/properties" ma:root="true" ma:fieldsID="53d11fd9ecaca01e630f2c2a9076a555" ns2:_="" ns3:_="" ns4:_="">
    <xsd:import namespace="448d5041-de8e-45d5-ba02-f97c4eed3c03"/>
    <xsd:import namespace="476d3b3f-b310-4a7a-8fab-a72dedfe234a"/>
    <xsd:import namespace="0d68b1e1-45ba-4240-8eca-da99a13561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8d5041-de8e-45d5-ba02-f97c4eed3c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ff8ec43-5215-498a-a147-96446220f21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6d3b3f-b310-4a7a-8fab-a72dedfe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68b1e1-45ba-4240-8eca-da99a1356104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33cec1c9-8295-4309-a7fe-ba995e7c57b9}" ma:internalName="TaxCatchAll" ma:showField="CatchAllData" ma:web="476d3b3f-b310-4a7a-8fab-a72dedfe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2D6F3E-21D6-4545-8144-9992085547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C8C249-4915-45E2-8DAC-71F1404E7840}">
  <ds:schemaRefs>
    <ds:schemaRef ds:uri="0d68b1e1-45ba-4240-8eca-da99a1356104"/>
    <ds:schemaRef ds:uri="448d5041-de8e-45d5-ba02-f97c4eed3c03"/>
    <ds:schemaRef ds:uri="476d3b3f-b310-4a7a-8fab-a72dedfe234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459C3C8-6226-4B28-AC32-787BADBF4AD5}">
  <ds:schemaRefs>
    <ds:schemaRef ds:uri="0d68b1e1-45ba-4240-8eca-da99a1356104"/>
    <ds:schemaRef ds:uri="448d5041-de8e-45d5-ba02-f97c4eed3c03"/>
    <ds:schemaRef ds:uri="476d3b3f-b310-4a7a-8fab-a72dedfe23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70a6eba4-9671-45d2-b83e-432e06502242}" enabled="0" method="" siteId="{70a6eba4-9671-45d2-b83e-432e0650224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68</TotalTime>
  <Words>1495</Words>
  <Application>Microsoft Office PowerPoint</Application>
  <PresentationFormat>Widescreen</PresentationFormat>
  <Paragraphs>30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ptos</vt:lpstr>
      <vt:lpstr>Arial</vt:lpstr>
      <vt:lpstr>Calibri</vt:lpstr>
      <vt:lpstr>Calibri Light</vt:lpstr>
      <vt:lpstr>Cambria Math</vt:lpstr>
      <vt:lpstr>Symbol</vt:lpstr>
      <vt:lpstr>Times</vt:lpstr>
      <vt:lpstr>Wingdings</vt:lpstr>
      <vt:lpstr>WintershallDea</vt:lpstr>
      <vt:lpstr>WintershallDea Office</vt:lpstr>
      <vt:lpstr>1_Office Theme</vt:lpstr>
      <vt:lpstr>Wintershall Dea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da Sollesnes</dc:creator>
  <cp:lastModifiedBy>Raymond Mushabe</cp:lastModifiedBy>
  <cp:revision>4</cp:revision>
  <dcterms:created xsi:type="dcterms:W3CDTF">2023-11-10T10:02:26Z</dcterms:created>
  <dcterms:modified xsi:type="dcterms:W3CDTF">2025-05-19T16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9E609232474B4F8438144A83FAA60E</vt:lpwstr>
  </property>
  <property fmtid="{D5CDD505-2E9C-101B-9397-08002B2CF9AE}" pid="3" name="MediaServiceImageTags">
    <vt:lpwstr/>
  </property>
</Properties>
</file>